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7" r:id="rId5"/>
    <p:sldMasterId id="2147483680" r:id="rId6"/>
    <p:sldMasterId id="2147483691" r:id="rId7"/>
  </p:sldMasterIdLst>
  <p:sldIdLst>
    <p:sldId id="272" r:id="rId8"/>
    <p:sldId id="274" r:id="rId9"/>
    <p:sldId id="273" r:id="rId10"/>
    <p:sldId id="275" r:id="rId11"/>
    <p:sldId id="276" r:id="rId12"/>
  </p:sldIdLst>
  <p:sldSz cx="9398000" cy="6858000"/>
  <p:notesSz cx="9906000" cy="6794500"/>
  <p:defaultTextStyle>
    <a:defPPr>
      <a:defRPr lang="ru-RU"/>
    </a:defPPr>
    <a:lvl1pPr marL="0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1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2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2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9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4" algn="l" defTabSz="91433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8207"/>
    <a:srgbClr val="000000"/>
    <a:srgbClr val="FFCB05"/>
    <a:srgbClr val="A6CE39"/>
    <a:srgbClr val="F2F2F2"/>
    <a:srgbClr val="FFC000"/>
    <a:srgbClr val="6AA744"/>
    <a:srgbClr val="C09700"/>
    <a:srgbClr val="65CCFF"/>
    <a:srgbClr val="A177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1248" y="-1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image" Target="../media/image5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image" Target="../media/image5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image" Target="../media/image5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image" Target="../media/image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Прямоугольник 8">
            <a:extLst/>
          </p:cNvPr>
          <p:cNvSpPr/>
          <p:nvPr userDrawn="1"/>
        </p:nvSpPr>
        <p:spPr bwMode="auto">
          <a:xfrm>
            <a:off x="406268" y="2660651"/>
            <a:ext cx="46501" cy="93662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7" dirty="0"/>
          </a:p>
        </p:txBody>
      </p:sp>
      <p:grpSp>
        <p:nvGrpSpPr>
          <p:cNvPr id="10" name="Группа 11"/>
          <p:cNvGrpSpPr>
            <a:grpSpLocks/>
          </p:cNvGrpSpPr>
          <p:nvPr userDrawn="1"/>
        </p:nvGrpSpPr>
        <p:grpSpPr bwMode="auto">
          <a:xfrm>
            <a:off x="8058051" y="2662239"/>
            <a:ext cx="1234711" cy="935037"/>
            <a:chOff x="7812360" y="2709863"/>
            <a:chExt cx="1201464" cy="863600"/>
          </a:xfrm>
        </p:grpSpPr>
        <p:pic>
          <p:nvPicPr>
            <p:cNvPr id="11" name="Picture 2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67" r="7381"/>
            <a:stretch>
              <a:fillRect/>
            </a:stretch>
          </p:blipFill>
          <p:spPr bwMode="auto">
            <a:xfrm>
              <a:off x="8437943" y="2709863"/>
              <a:ext cx="575881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2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744" r="63263"/>
            <a:stretch>
              <a:fillRect/>
            </a:stretch>
          </p:blipFill>
          <p:spPr bwMode="auto">
            <a:xfrm>
              <a:off x="7812360" y="2709863"/>
              <a:ext cx="57355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5" y="2649234"/>
            <a:ext cx="7450587" cy="936000"/>
          </a:xfrm>
        </p:spPr>
        <p:txBody>
          <a:bodyPr anchor="ctr"/>
          <a:lstStyle>
            <a:lvl1pPr algn="l">
              <a:lnSpc>
                <a:spcPct val="100000"/>
              </a:lnSpc>
              <a:defRPr sz="208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7" y="3900272"/>
            <a:ext cx="7445539" cy="468000"/>
          </a:xfrm>
        </p:spPr>
        <p:txBody>
          <a:bodyPr/>
          <a:lstStyle>
            <a:lvl1pPr marL="0" marR="0" indent="0" algn="l" defTabSz="867456" rtl="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07"/>
            </a:lvl1pPr>
            <a:lvl2pPr marL="433728" indent="0" algn="ctr">
              <a:buNone/>
              <a:defRPr sz="1898"/>
            </a:lvl2pPr>
            <a:lvl3pPr marL="867456" indent="0" algn="ctr">
              <a:buNone/>
              <a:defRPr sz="1707"/>
            </a:lvl3pPr>
            <a:lvl4pPr marL="1301182" indent="0" algn="ctr">
              <a:buNone/>
              <a:defRPr sz="1518"/>
            </a:lvl4pPr>
            <a:lvl5pPr marL="1734910" indent="0" algn="ctr">
              <a:buNone/>
              <a:defRPr sz="1518"/>
            </a:lvl5pPr>
            <a:lvl6pPr marL="2168637" indent="0" algn="ctr">
              <a:buNone/>
              <a:defRPr sz="1518"/>
            </a:lvl6pPr>
            <a:lvl7pPr marL="2602366" indent="0" algn="ctr">
              <a:buNone/>
              <a:defRPr sz="1518"/>
            </a:lvl7pPr>
            <a:lvl8pPr marL="3036092" indent="0" algn="ctr">
              <a:buNone/>
              <a:defRPr sz="1518"/>
            </a:lvl8pPr>
            <a:lvl9pPr marL="3469820" indent="0" algn="ctr">
              <a:buNone/>
              <a:defRPr sz="1518"/>
            </a:lvl9pPr>
          </a:lstStyle>
          <a:p>
            <a:pPr lvl="0"/>
            <a:r>
              <a:rPr lang="ru-RU" altLang="ru-RU" smtClean="0"/>
              <a:t>Образец подзаголовка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539556" y="487981"/>
            <a:ext cx="2117539" cy="365125"/>
          </a:xfrm>
        </p:spPr>
        <p:txBody>
          <a:bodyPr/>
          <a:lstStyle>
            <a:lvl1pPr marL="0" indent="0">
              <a:buNone/>
              <a:defRPr sz="1233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Дата 6">
            <a:extLst/>
          </p:cNvPr>
          <p:cNvSpPr>
            <a:spLocks noGrp="1"/>
          </p:cNvSpPr>
          <p:nvPr>
            <p:ph type="dt" sz="half" idx="13"/>
          </p:nvPr>
        </p:nvSpPr>
        <p:spPr>
          <a:xfrm>
            <a:off x="539651" y="4422776"/>
            <a:ext cx="2114550" cy="365125"/>
          </a:xfrm>
        </p:spPr>
        <p:txBody>
          <a:bodyPr/>
          <a:lstStyle>
            <a:lvl1pPr>
              <a:defRPr sz="1233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7">
            <a:extLst/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72DB645-B07C-46E6-A53A-CAC6D247DB7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8767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Прямоугольник 7">
            <a:extLst/>
          </p:cNvPr>
          <p:cNvSpPr/>
          <p:nvPr userDrawn="1"/>
        </p:nvSpPr>
        <p:spPr bwMode="auto">
          <a:xfrm>
            <a:off x="411162" y="1643063"/>
            <a:ext cx="48948" cy="358775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7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092" y="1642341"/>
            <a:ext cx="2937232" cy="157774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587092" y="3358084"/>
            <a:ext cx="2937232" cy="1871999"/>
          </a:xfrm>
        </p:spPr>
        <p:txBody>
          <a:bodyPr/>
          <a:lstStyle>
            <a:lvl1pPr marL="0" marR="0" indent="0" algn="l" defTabSz="867456" rtl="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328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8">
            <a:extLst/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28E32-6B26-4A7A-88EF-97068C59B47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817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Номер слайда 8">
            <a:extLst/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FB24A-25EB-4CE2-BBE1-7F4E4CF45A4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838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63821" y="2519201"/>
            <a:ext cx="37935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04937">
              <a:defRPr/>
            </a:pPr>
            <a:endParaRPr lang="ru-RU" sz="637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0" y="6345238"/>
            <a:ext cx="9398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87" dirty="0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215580" y="2542604"/>
            <a:ext cx="924220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398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87" dirty="0"/>
            </a:p>
          </p:txBody>
        </p:sp>
      </p:grp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96010" y="152400"/>
            <a:ext cx="2843790" cy="652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4482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53753" y="2130427"/>
            <a:ext cx="6490494" cy="1470029"/>
          </a:xfrm>
          <a:prstGeom prst="rect">
            <a:avLst/>
          </a:prstGeom>
        </p:spPr>
        <p:txBody>
          <a:bodyPr lIns="87914" tIns="87914" rIns="87914" bIns="87914"/>
          <a:lstStyle>
            <a:lvl1pPr algn="ctr">
              <a:lnSpc>
                <a:spcPct val="100000"/>
              </a:lnSpc>
              <a:defRPr sz="3237"/>
            </a:lvl1pPr>
          </a:lstStyle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026444" y="3886200"/>
            <a:ext cx="5345113" cy="1752600"/>
          </a:xfrm>
          <a:prstGeom prst="rect">
            <a:avLst/>
          </a:prstGeom>
        </p:spPr>
        <p:txBody>
          <a:bodyPr lIns="87914" tIns="87914" rIns="87914" bIns="87914"/>
          <a:lstStyle>
            <a:lvl1pPr marL="0" indent="0" algn="ctr">
              <a:lnSpc>
                <a:spcPct val="100000"/>
              </a:lnSpc>
              <a:spcBef>
                <a:spcPts val="540"/>
              </a:spcBef>
              <a:buSzTx/>
              <a:buFontTx/>
              <a:buNone/>
              <a:defRPr sz="2312">
                <a:solidFill>
                  <a:srgbClr val="888888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540"/>
              </a:spcBef>
              <a:buSzTx/>
              <a:buFontTx/>
              <a:buNone/>
              <a:defRPr sz="2312">
                <a:solidFill>
                  <a:srgbClr val="888888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540"/>
              </a:spcBef>
              <a:buSzTx/>
              <a:buFontTx/>
              <a:buNone/>
              <a:defRPr sz="2312">
                <a:solidFill>
                  <a:srgbClr val="888888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540"/>
              </a:spcBef>
              <a:buSzTx/>
              <a:buFontTx/>
              <a:buNone/>
              <a:defRPr sz="2312">
                <a:solidFill>
                  <a:srgbClr val="888888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540"/>
              </a:spcBef>
              <a:buSzTx/>
              <a:buFontTx/>
              <a:buNone/>
              <a:defRPr sz="2312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86545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62856" y="274638"/>
            <a:ext cx="6872288" cy="1143001"/>
          </a:xfrm>
          <a:prstGeom prst="rect">
            <a:avLst/>
          </a:prstGeom>
        </p:spPr>
        <p:txBody>
          <a:bodyPr lIns="87914" tIns="87914" rIns="87914" bIns="87914"/>
          <a:lstStyle>
            <a:lvl1pPr algn="ctr">
              <a:lnSpc>
                <a:spcPct val="100000"/>
              </a:lnSpc>
              <a:defRPr sz="3237"/>
            </a:lvl1pPr>
          </a:lstStyle>
          <a:p>
            <a:r>
              <a:t>Текст заголовка</a:t>
            </a:r>
          </a:p>
        </p:txBody>
      </p:sp>
      <p:sp>
        <p:nvSpPr>
          <p:cNvPr id="2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262856" y="1600200"/>
            <a:ext cx="6872288" cy="4525963"/>
          </a:xfrm>
          <a:prstGeom prst="rect">
            <a:avLst/>
          </a:prstGeom>
        </p:spPr>
        <p:txBody>
          <a:bodyPr lIns="87914" tIns="87914" rIns="87914" bIns="87914"/>
          <a:lstStyle>
            <a:lvl1pPr marL="253295" indent="-253295">
              <a:lnSpc>
                <a:spcPct val="100000"/>
              </a:lnSpc>
              <a:spcBef>
                <a:spcPts val="540"/>
              </a:spcBef>
              <a:defRPr sz="2312"/>
            </a:lvl1pPr>
            <a:lvl2pPr marL="404074" indent="-235211">
              <a:lnSpc>
                <a:spcPct val="100000"/>
              </a:lnSpc>
              <a:spcBef>
                <a:spcPts val="540"/>
              </a:spcBef>
              <a:buChar char="–"/>
              <a:defRPr sz="2312"/>
            </a:lvl2pPr>
            <a:lvl3pPr marL="559206" indent="-220256">
              <a:lnSpc>
                <a:spcPct val="100000"/>
              </a:lnSpc>
              <a:spcBef>
                <a:spcPts val="540"/>
              </a:spcBef>
              <a:defRPr sz="2312"/>
            </a:lvl3pPr>
            <a:lvl4pPr marL="775050" indent="-266625">
              <a:lnSpc>
                <a:spcPct val="100000"/>
              </a:lnSpc>
              <a:spcBef>
                <a:spcPts val="540"/>
              </a:spcBef>
              <a:buChar char="–"/>
              <a:defRPr sz="2312"/>
            </a:lvl4pPr>
            <a:lvl5pPr marL="944524" indent="-266625">
              <a:lnSpc>
                <a:spcPct val="100000"/>
              </a:lnSpc>
              <a:spcBef>
                <a:spcPts val="540"/>
              </a:spcBef>
              <a:buChar char="»"/>
              <a:defRPr sz="231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4466277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84244" y="4406901"/>
            <a:ext cx="6490496" cy="1362078"/>
          </a:xfrm>
          <a:prstGeom prst="rect">
            <a:avLst/>
          </a:prstGeom>
        </p:spPr>
        <p:txBody>
          <a:bodyPr lIns="87914" tIns="87914" rIns="87914" bIns="87914" anchor="t"/>
          <a:lstStyle>
            <a:lvl1pPr>
              <a:lnSpc>
                <a:spcPct val="100000"/>
              </a:lnSpc>
              <a:defRPr sz="2929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3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84244" y="2906713"/>
            <a:ext cx="6490496" cy="1500191"/>
          </a:xfrm>
          <a:prstGeom prst="rect">
            <a:avLst/>
          </a:prstGeom>
        </p:spPr>
        <p:txBody>
          <a:bodyPr lIns="87914" tIns="87914" rIns="87914" bIns="87914" anchor="b"/>
          <a:lstStyle>
            <a:lvl1pPr marL="0" indent="0">
              <a:lnSpc>
                <a:spcPct val="100000"/>
              </a:lnSpc>
              <a:spcBef>
                <a:spcPts val="308"/>
              </a:spcBef>
              <a:buSzTx/>
              <a:buFontTx/>
              <a:buNone/>
              <a:defRPr sz="1465">
                <a:solidFill>
                  <a:srgbClr val="888888"/>
                </a:solidFill>
              </a:defRPr>
            </a:lvl1pPr>
            <a:lvl2pPr marL="0" indent="0">
              <a:lnSpc>
                <a:spcPct val="100000"/>
              </a:lnSpc>
              <a:spcBef>
                <a:spcPts val="308"/>
              </a:spcBef>
              <a:buSzTx/>
              <a:buFontTx/>
              <a:buNone/>
              <a:defRPr sz="1465">
                <a:solidFill>
                  <a:srgbClr val="888888"/>
                </a:solidFill>
              </a:defRPr>
            </a:lvl2pPr>
            <a:lvl3pPr marL="0" indent="0">
              <a:lnSpc>
                <a:spcPct val="100000"/>
              </a:lnSpc>
              <a:spcBef>
                <a:spcPts val="308"/>
              </a:spcBef>
              <a:buSzTx/>
              <a:buFontTx/>
              <a:buNone/>
              <a:defRPr sz="1465">
                <a:solidFill>
                  <a:srgbClr val="888888"/>
                </a:solidFill>
              </a:defRPr>
            </a:lvl3pPr>
            <a:lvl4pPr marL="0" indent="0">
              <a:lnSpc>
                <a:spcPct val="100000"/>
              </a:lnSpc>
              <a:spcBef>
                <a:spcPts val="308"/>
              </a:spcBef>
              <a:buSzTx/>
              <a:buFontTx/>
              <a:buNone/>
              <a:defRPr sz="1465">
                <a:solidFill>
                  <a:srgbClr val="888888"/>
                </a:solidFill>
              </a:defRPr>
            </a:lvl4pPr>
            <a:lvl5pPr marL="0" indent="0">
              <a:lnSpc>
                <a:spcPct val="100000"/>
              </a:lnSpc>
              <a:spcBef>
                <a:spcPts val="308"/>
              </a:spcBef>
              <a:buSzTx/>
              <a:buFontTx/>
              <a:buNone/>
              <a:defRPr sz="1465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5618540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62856" y="274638"/>
            <a:ext cx="6872288" cy="1143001"/>
          </a:xfrm>
          <a:prstGeom prst="rect">
            <a:avLst/>
          </a:prstGeom>
        </p:spPr>
        <p:txBody>
          <a:bodyPr lIns="87914" tIns="87914" rIns="87914" bIns="87914"/>
          <a:lstStyle>
            <a:lvl1pPr algn="ctr">
              <a:lnSpc>
                <a:spcPct val="100000"/>
              </a:lnSpc>
              <a:defRPr sz="3237"/>
            </a:lvl1pPr>
          </a:lstStyle>
          <a:p>
            <a:r>
              <a:t>Текст заголовка</a:t>
            </a:r>
          </a:p>
        </p:txBody>
      </p:sp>
      <p:sp>
        <p:nvSpPr>
          <p:cNvPr id="3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262856" y="1600200"/>
            <a:ext cx="3372511" cy="4525965"/>
          </a:xfrm>
          <a:prstGeom prst="rect">
            <a:avLst/>
          </a:prstGeom>
        </p:spPr>
        <p:txBody>
          <a:bodyPr lIns="87914" tIns="87914" rIns="87914" bIns="87914"/>
          <a:lstStyle>
            <a:lvl1pPr marL="253295" indent="-253295">
              <a:lnSpc>
                <a:spcPct val="100000"/>
              </a:lnSpc>
              <a:spcBef>
                <a:spcPts val="462"/>
              </a:spcBef>
              <a:defRPr sz="2081"/>
            </a:lvl1pPr>
            <a:lvl2pPr marL="417370" indent="-248507">
              <a:lnSpc>
                <a:spcPct val="100000"/>
              </a:lnSpc>
              <a:spcBef>
                <a:spcPts val="462"/>
              </a:spcBef>
              <a:buChar char="–"/>
              <a:defRPr sz="2081"/>
            </a:lvl2pPr>
            <a:lvl3pPr marL="578912" indent="-239963">
              <a:lnSpc>
                <a:spcPct val="100000"/>
              </a:lnSpc>
              <a:spcBef>
                <a:spcPts val="462"/>
              </a:spcBef>
              <a:defRPr sz="2081"/>
            </a:lvl3pPr>
            <a:lvl4pPr marL="776618" indent="-268193">
              <a:lnSpc>
                <a:spcPct val="100000"/>
              </a:lnSpc>
              <a:spcBef>
                <a:spcPts val="462"/>
              </a:spcBef>
              <a:buChar char="–"/>
              <a:defRPr sz="2081"/>
            </a:lvl4pPr>
            <a:lvl5pPr marL="946091" indent="-268192">
              <a:lnSpc>
                <a:spcPct val="100000"/>
              </a:lnSpc>
              <a:spcBef>
                <a:spcPts val="462"/>
              </a:spcBef>
              <a:buChar char="»"/>
              <a:defRPr sz="208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0204001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62856" y="274638"/>
            <a:ext cx="6872288" cy="1143001"/>
          </a:xfrm>
          <a:prstGeom prst="rect">
            <a:avLst/>
          </a:prstGeom>
        </p:spPr>
        <p:txBody>
          <a:bodyPr lIns="87914" tIns="87914" rIns="87914" bIns="87914"/>
          <a:lstStyle>
            <a:lvl1pPr algn="ctr">
              <a:lnSpc>
                <a:spcPct val="100000"/>
              </a:lnSpc>
              <a:defRPr sz="3237"/>
            </a:lvl1pPr>
          </a:lstStyle>
          <a:p>
            <a:r>
              <a:t>Текст заголовка</a:t>
            </a:r>
          </a:p>
        </p:txBody>
      </p:sp>
      <p:sp>
        <p:nvSpPr>
          <p:cNvPr id="4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262856" y="1535112"/>
            <a:ext cx="3373838" cy="639767"/>
          </a:xfrm>
          <a:prstGeom prst="rect">
            <a:avLst/>
          </a:prstGeom>
        </p:spPr>
        <p:txBody>
          <a:bodyPr lIns="87914" tIns="87914" rIns="87914" bIns="87914" anchor="b"/>
          <a:lstStyle>
            <a:lvl1pPr marL="0" indent="0">
              <a:lnSpc>
                <a:spcPct val="100000"/>
              </a:lnSpc>
              <a:spcBef>
                <a:spcPts val="385"/>
              </a:spcBef>
              <a:buSzTx/>
              <a:buFontTx/>
              <a:buNone/>
              <a:defRPr sz="1773" b="1"/>
            </a:lvl1pPr>
            <a:lvl2pPr marL="0" indent="0">
              <a:lnSpc>
                <a:spcPct val="100000"/>
              </a:lnSpc>
              <a:spcBef>
                <a:spcPts val="385"/>
              </a:spcBef>
              <a:buSzTx/>
              <a:buFontTx/>
              <a:buNone/>
              <a:defRPr sz="1773" b="1"/>
            </a:lvl2pPr>
            <a:lvl3pPr marL="0" indent="0">
              <a:lnSpc>
                <a:spcPct val="100000"/>
              </a:lnSpc>
              <a:spcBef>
                <a:spcPts val="385"/>
              </a:spcBef>
              <a:buSzTx/>
              <a:buFontTx/>
              <a:buNone/>
              <a:defRPr sz="1773" b="1"/>
            </a:lvl3pPr>
            <a:lvl4pPr marL="0" indent="0">
              <a:lnSpc>
                <a:spcPct val="100000"/>
              </a:lnSpc>
              <a:spcBef>
                <a:spcPts val="385"/>
              </a:spcBef>
              <a:buSzTx/>
              <a:buFontTx/>
              <a:buNone/>
              <a:defRPr sz="1773" b="1"/>
            </a:lvl4pPr>
            <a:lvl5pPr marL="0" indent="0">
              <a:lnSpc>
                <a:spcPct val="100000"/>
              </a:lnSpc>
              <a:spcBef>
                <a:spcPts val="385"/>
              </a:spcBef>
              <a:buSzTx/>
              <a:buFontTx/>
              <a:buNone/>
              <a:defRPr sz="1773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9" name="Текст 4"/>
          <p:cNvSpPr>
            <a:spLocks noGrp="1"/>
          </p:cNvSpPr>
          <p:nvPr>
            <p:ph type="body" sz="quarter" idx="21"/>
          </p:nvPr>
        </p:nvSpPr>
        <p:spPr>
          <a:xfrm>
            <a:off x="4759982" y="1535112"/>
            <a:ext cx="3375165" cy="639768"/>
          </a:xfrm>
          <a:prstGeom prst="rect">
            <a:avLst/>
          </a:prstGeom>
        </p:spPr>
        <p:txBody>
          <a:bodyPr lIns="87914" tIns="87914" rIns="87914" bIns="87914" anchor="b"/>
          <a:lstStyle/>
          <a:p>
            <a:endParaRPr/>
          </a:p>
        </p:txBody>
      </p:sp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840640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62856" y="274638"/>
            <a:ext cx="6872288" cy="1143001"/>
          </a:xfrm>
          <a:prstGeom prst="rect">
            <a:avLst/>
          </a:prstGeom>
        </p:spPr>
        <p:txBody>
          <a:bodyPr lIns="87914" tIns="87914" rIns="87914" bIns="87914"/>
          <a:lstStyle>
            <a:lvl1pPr algn="ctr">
              <a:lnSpc>
                <a:spcPct val="100000"/>
              </a:lnSpc>
              <a:defRPr sz="3237"/>
            </a:lvl1pPr>
          </a:lstStyle>
          <a:p>
            <a:r>
              <a:t>Текст заголовка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544965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876956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Прямоугольник 7">
            <a:extLst/>
          </p:cNvPr>
          <p:cNvSpPr/>
          <p:nvPr userDrawn="1"/>
        </p:nvSpPr>
        <p:spPr bwMode="auto">
          <a:xfrm>
            <a:off x="406268" y="2060575"/>
            <a:ext cx="45277" cy="267335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7" dirty="0"/>
          </a:p>
        </p:txBody>
      </p:sp>
      <p:grpSp>
        <p:nvGrpSpPr>
          <p:cNvPr id="9" name="Группа 9"/>
          <p:cNvGrpSpPr>
            <a:grpSpLocks/>
          </p:cNvGrpSpPr>
          <p:nvPr userDrawn="1"/>
        </p:nvGrpSpPr>
        <p:grpSpPr bwMode="auto">
          <a:xfrm>
            <a:off x="8028683" y="2060575"/>
            <a:ext cx="1234711" cy="2673350"/>
            <a:chOff x="7812360" y="2709863"/>
            <a:chExt cx="1201464" cy="863600"/>
          </a:xfrm>
        </p:grpSpPr>
        <p:pic>
          <p:nvPicPr>
            <p:cNvPr id="10" name="Picture 2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67" r="7381"/>
            <a:stretch>
              <a:fillRect/>
            </a:stretch>
          </p:blipFill>
          <p:spPr bwMode="auto">
            <a:xfrm>
              <a:off x="8437943" y="2709863"/>
              <a:ext cx="575881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2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744" r="63263"/>
            <a:stretch>
              <a:fillRect/>
            </a:stretch>
          </p:blipFill>
          <p:spPr bwMode="auto">
            <a:xfrm>
              <a:off x="7812360" y="2709863"/>
              <a:ext cx="57355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5" y="2060575"/>
            <a:ext cx="7450587" cy="2673350"/>
          </a:xfrm>
        </p:spPr>
        <p:txBody>
          <a:bodyPr anchor="ctr"/>
          <a:lstStyle>
            <a:lvl1pPr algn="l">
              <a:lnSpc>
                <a:spcPct val="100000"/>
              </a:lnSpc>
              <a:defRPr sz="208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7" y="5011151"/>
            <a:ext cx="7445539" cy="468000"/>
          </a:xfrm>
        </p:spPr>
        <p:txBody>
          <a:bodyPr/>
          <a:lstStyle>
            <a:lvl1pPr marL="0" marR="0" indent="0" algn="l" defTabSz="867456" rtl="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07"/>
            </a:lvl1pPr>
            <a:lvl2pPr marL="433728" indent="0" algn="ctr">
              <a:buNone/>
              <a:defRPr sz="1898"/>
            </a:lvl2pPr>
            <a:lvl3pPr marL="867456" indent="0" algn="ctr">
              <a:buNone/>
              <a:defRPr sz="1707"/>
            </a:lvl3pPr>
            <a:lvl4pPr marL="1301182" indent="0" algn="ctr">
              <a:buNone/>
              <a:defRPr sz="1518"/>
            </a:lvl4pPr>
            <a:lvl5pPr marL="1734910" indent="0" algn="ctr">
              <a:buNone/>
              <a:defRPr sz="1518"/>
            </a:lvl5pPr>
            <a:lvl6pPr marL="2168637" indent="0" algn="ctr">
              <a:buNone/>
              <a:defRPr sz="1518"/>
            </a:lvl6pPr>
            <a:lvl7pPr marL="2602366" indent="0" algn="ctr">
              <a:buNone/>
              <a:defRPr sz="1518"/>
            </a:lvl7pPr>
            <a:lvl8pPr marL="3036092" indent="0" algn="ctr">
              <a:buNone/>
              <a:defRPr sz="1518"/>
            </a:lvl8pPr>
            <a:lvl9pPr marL="3469820" indent="0" algn="ctr">
              <a:buNone/>
              <a:defRPr sz="1518"/>
            </a:lvl9pPr>
          </a:lstStyle>
          <a:p>
            <a:pPr lvl="0"/>
            <a:r>
              <a:rPr lang="ru-RU" altLang="ru-RU" smtClean="0"/>
              <a:t>Образец подзаголовка</a:t>
            </a:r>
            <a:endParaRPr lang="en-US" dirty="0"/>
          </a:p>
        </p:txBody>
      </p:sp>
      <p:sp>
        <p:nvSpPr>
          <p:cNvPr id="11" name="Текст 4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539556" y="487981"/>
            <a:ext cx="2117539" cy="365125"/>
          </a:xfrm>
        </p:spPr>
        <p:txBody>
          <a:bodyPr/>
          <a:lstStyle>
            <a:lvl1pPr marL="0" indent="0">
              <a:buNone/>
              <a:defRPr sz="1233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Дата 6">
            <a:extLst/>
          </p:cNvPr>
          <p:cNvSpPr>
            <a:spLocks noGrp="1"/>
          </p:cNvSpPr>
          <p:nvPr>
            <p:ph type="dt" sz="half" idx="13"/>
          </p:nvPr>
        </p:nvSpPr>
        <p:spPr>
          <a:xfrm>
            <a:off x="539651" y="5534026"/>
            <a:ext cx="2114550" cy="365125"/>
          </a:xfrm>
        </p:spPr>
        <p:txBody>
          <a:bodyPr/>
          <a:lstStyle>
            <a:lvl1pPr>
              <a:defRPr sz="1233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4" name="Номер слайда 7">
            <a:extLst/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35E5A5AA-47BE-4FF3-8605-BE499220994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849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62857" y="273049"/>
            <a:ext cx="2512153" cy="1162051"/>
          </a:xfrm>
          <a:prstGeom prst="rect">
            <a:avLst/>
          </a:prstGeom>
        </p:spPr>
        <p:txBody>
          <a:bodyPr lIns="87914" tIns="87914" rIns="87914" bIns="87914" anchor="b"/>
          <a:lstStyle>
            <a:lvl1pPr>
              <a:lnSpc>
                <a:spcPct val="100000"/>
              </a:lnSpc>
              <a:defRPr sz="1465" b="1"/>
            </a:lvl1pPr>
          </a:lstStyle>
          <a:p>
            <a:r>
              <a:t>Текст заголовка</a:t>
            </a:r>
          </a:p>
        </p:txBody>
      </p:sp>
      <p:sp>
        <p:nvSpPr>
          <p:cNvPr id="7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866478" y="273053"/>
            <a:ext cx="4268667" cy="5853113"/>
          </a:xfrm>
          <a:prstGeom prst="rect">
            <a:avLst/>
          </a:prstGeom>
        </p:spPr>
        <p:txBody>
          <a:bodyPr lIns="87914" tIns="87914" rIns="87914" bIns="87914"/>
          <a:lstStyle>
            <a:lvl1pPr marL="253295" indent="-253295">
              <a:lnSpc>
                <a:spcPct val="100000"/>
              </a:lnSpc>
              <a:spcBef>
                <a:spcPts val="540"/>
              </a:spcBef>
              <a:defRPr sz="2312"/>
            </a:lvl1pPr>
            <a:lvl2pPr marL="404074" indent="-235211">
              <a:lnSpc>
                <a:spcPct val="100000"/>
              </a:lnSpc>
              <a:spcBef>
                <a:spcPts val="540"/>
              </a:spcBef>
              <a:buChar char="–"/>
              <a:defRPr sz="2312"/>
            </a:lvl2pPr>
            <a:lvl3pPr marL="559206" indent="-220256">
              <a:lnSpc>
                <a:spcPct val="100000"/>
              </a:lnSpc>
              <a:spcBef>
                <a:spcPts val="540"/>
              </a:spcBef>
              <a:defRPr sz="2312"/>
            </a:lvl3pPr>
            <a:lvl4pPr marL="775050" indent="-266625">
              <a:lnSpc>
                <a:spcPct val="100000"/>
              </a:lnSpc>
              <a:spcBef>
                <a:spcPts val="540"/>
              </a:spcBef>
              <a:buChar char="–"/>
              <a:defRPr sz="2312"/>
            </a:lvl4pPr>
            <a:lvl5pPr marL="944524" indent="-266625">
              <a:lnSpc>
                <a:spcPct val="100000"/>
              </a:lnSpc>
              <a:spcBef>
                <a:spcPts val="540"/>
              </a:spcBef>
              <a:buChar char="»"/>
              <a:defRPr sz="231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4" name="Текст 3"/>
          <p:cNvSpPr>
            <a:spLocks noGrp="1"/>
          </p:cNvSpPr>
          <p:nvPr>
            <p:ph type="body" sz="quarter" idx="21"/>
          </p:nvPr>
        </p:nvSpPr>
        <p:spPr>
          <a:xfrm>
            <a:off x="1262857" y="1435101"/>
            <a:ext cx="2512153" cy="4691065"/>
          </a:xfrm>
          <a:prstGeom prst="rect">
            <a:avLst/>
          </a:prstGeom>
        </p:spPr>
        <p:txBody>
          <a:bodyPr lIns="87914" tIns="87914" rIns="87914" bIns="87914"/>
          <a:lstStyle/>
          <a:p>
            <a:endParaRPr/>
          </a:p>
        </p:txBody>
      </p:sp>
      <p:sp>
        <p:nvSpPr>
          <p:cNvPr id="7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431303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77747" y="4800600"/>
            <a:ext cx="4581527" cy="566738"/>
          </a:xfrm>
          <a:prstGeom prst="rect">
            <a:avLst/>
          </a:prstGeom>
        </p:spPr>
        <p:txBody>
          <a:bodyPr lIns="87914" tIns="87914" rIns="87914" bIns="87914" anchor="b"/>
          <a:lstStyle>
            <a:lvl1pPr>
              <a:lnSpc>
                <a:spcPct val="100000"/>
              </a:lnSpc>
              <a:defRPr sz="1465" b="1"/>
            </a:lvl1pPr>
          </a:lstStyle>
          <a:p>
            <a:r>
              <a:t>Текст заголовка</a:t>
            </a:r>
          </a:p>
        </p:txBody>
      </p:sp>
      <p:sp>
        <p:nvSpPr>
          <p:cNvPr id="83" name="Рисунок 2"/>
          <p:cNvSpPr>
            <a:spLocks noGrp="1"/>
          </p:cNvSpPr>
          <p:nvPr>
            <p:ph type="pic" sz="half" idx="21"/>
          </p:nvPr>
        </p:nvSpPr>
        <p:spPr>
          <a:xfrm>
            <a:off x="2377747" y="612775"/>
            <a:ext cx="4581527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8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77747" y="5367339"/>
            <a:ext cx="4581527" cy="804867"/>
          </a:xfrm>
          <a:prstGeom prst="rect">
            <a:avLst/>
          </a:prstGeom>
        </p:spPr>
        <p:txBody>
          <a:bodyPr lIns="87914" tIns="87914" rIns="87914" bIns="87914"/>
          <a:lstStyle>
            <a:lvl1pPr marL="0" indent="0">
              <a:lnSpc>
                <a:spcPct val="100000"/>
              </a:lnSpc>
              <a:spcBef>
                <a:spcPts val="231"/>
              </a:spcBef>
              <a:buSzTx/>
              <a:buFontTx/>
              <a:buNone/>
              <a:defRPr sz="1079"/>
            </a:lvl1pPr>
            <a:lvl2pPr marL="0" indent="0">
              <a:lnSpc>
                <a:spcPct val="100000"/>
              </a:lnSpc>
              <a:spcBef>
                <a:spcPts val="231"/>
              </a:spcBef>
              <a:buSzTx/>
              <a:buFontTx/>
              <a:buNone/>
              <a:defRPr sz="1079"/>
            </a:lvl2pPr>
            <a:lvl3pPr marL="0" indent="0">
              <a:lnSpc>
                <a:spcPct val="100000"/>
              </a:lnSpc>
              <a:spcBef>
                <a:spcPts val="231"/>
              </a:spcBef>
              <a:buSzTx/>
              <a:buFontTx/>
              <a:buNone/>
              <a:defRPr sz="1079"/>
            </a:lvl3pPr>
            <a:lvl4pPr marL="0" indent="0">
              <a:lnSpc>
                <a:spcPct val="100000"/>
              </a:lnSpc>
              <a:spcBef>
                <a:spcPts val="231"/>
              </a:spcBef>
              <a:buSzTx/>
              <a:buFontTx/>
              <a:buNone/>
              <a:defRPr sz="1079"/>
            </a:lvl4pPr>
            <a:lvl5pPr marL="0" indent="0">
              <a:lnSpc>
                <a:spcPct val="100000"/>
              </a:lnSpc>
              <a:spcBef>
                <a:spcPts val="231"/>
              </a:spcBef>
              <a:buSzTx/>
              <a:buFontTx/>
              <a:buNone/>
              <a:defRPr sz="107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24551" y="6384899"/>
            <a:ext cx="310595" cy="308030"/>
          </a:xfrm>
          <a:prstGeom prst="rect">
            <a:avLst/>
          </a:prstGeom>
        </p:spPr>
        <p:txBody>
          <a:bodyPr lIns="87914" tIns="87914" rIns="87914" bIns="87914"/>
          <a:lstStyle>
            <a:lvl1pPr>
              <a:defRPr sz="848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06562926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3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132488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04850" y="2125980"/>
            <a:ext cx="79883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09700" y="3840480"/>
            <a:ext cx="6578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042884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8061" y="427989"/>
            <a:ext cx="8781876" cy="291939"/>
          </a:xfrm>
        </p:spPr>
        <p:txBody>
          <a:bodyPr lIns="0" tIns="0" rIns="0" bIns="0"/>
          <a:lstStyle>
            <a:lvl1pPr>
              <a:defRPr sz="1897" b="1" i="0">
                <a:solidFill>
                  <a:srgbClr val="18502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19228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8061" y="427989"/>
            <a:ext cx="8781876" cy="291939"/>
          </a:xfrm>
        </p:spPr>
        <p:txBody>
          <a:bodyPr lIns="0" tIns="0" rIns="0" bIns="0"/>
          <a:lstStyle>
            <a:lvl1pPr>
              <a:defRPr sz="1897" b="1" i="0">
                <a:solidFill>
                  <a:srgbClr val="18502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69900" y="1577340"/>
            <a:ext cx="408813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839970" y="1577340"/>
            <a:ext cx="408813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566617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8061" y="427989"/>
            <a:ext cx="8781876" cy="291939"/>
          </a:xfrm>
        </p:spPr>
        <p:txBody>
          <a:bodyPr lIns="0" tIns="0" rIns="0" bIns="0"/>
          <a:lstStyle>
            <a:lvl1pPr>
              <a:defRPr sz="1897" b="1" i="0">
                <a:solidFill>
                  <a:srgbClr val="18502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36460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4287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8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0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93" y="1737055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7945228" y="1737297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Content Placeholder 2">
            <a:extLst/>
          </p:cNvPr>
          <p:cNvSpPr>
            <a:spLocks noGrp="1"/>
          </p:cNvSpPr>
          <p:nvPr>
            <p:ph idx="13"/>
          </p:nvPr>
        </p:nvSpPr>
        <p:spPr>
          <a:xfrm>
            <a:off x="560993" y="2188159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2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7945228" y="2188402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Content Placeholder 2">
            <a:extLst/>
          </p:cNvPr>
          <p:cNvSpPr>
            <a:spLocks noGrp="1"/>
          </p:cNvSpPr>
          <p:nvPr>
            <p:ph idx="15"/>
          </p:nvPr>
        </p:nvSpPr>
        <p:spPr>
          <a:xfrm>
            <a:off x="560993" y="2639262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12">
            <a:extLst/>
          </p:cNvPr>
          <p:cNvSpPr>
            <a:spLocks noGrp="1"/>
          </p:cNvSpPr>
          <p:nvPr>
            <p:ph type="body" sz="quarter" idx="16"/>
          </p:nvPr>
        </p:nvSpPr>
        <p:spPr>
          <a:xfrm>
            <a:off x="7945228" y="2639506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Content Placeholder 2">
            <a:extLst/>
          </p:cNvPr>
          <p:cNvSpPr>
            <a:spLocks noGrp="1"/>
          </p:cNvSpPr>
          <p:nvPr>
            <p:ph idx="17"/>
          </p:nvPr>
        </p:nvSpPr>
        <p:spPr>
          <a:xfrm>
            <a:off x="560993" y="3090366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2">
            <a:extLst/>
          </p:cNvPr>
          <p:cNvSpPr>
            <a:spLocks noGrp="1"/>
          </p:cNvSpPr>
          <p:nvPr>
            <p:ph type="body" sz="quarter" idx="18"/>
          </p:nvPr>
        </p:nvSpPr>
        <p:spPr>
          <a:xfrm>
            <a:off x="7945228" y="3090610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Content Placeholder 2">
            <a:extLst/>
          </p:cNvPr>
          <p:cNvSpPr>
            <a:spLocks noGrp="1"/>
          </p:cNvSpPr>
          <p:nvPr>
            <p:ph idx="19"/>
          </p:nvPr>
        </p:nvSpPr>
        <p:spPr>
          <a:xfrm>
            <a:off x="560993" y="3541470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12">
            <a:extLst/>
          </p:cNvPr>
          <p:cNvSpPr>
            <a:spLocks noGrp="1"/>
          </p:cNvSpPr>
          <p:nvPr>
            <p:ph type="body" sz="quarter" idx="20"/>
          </p:nvPr>
        </p:nvSpPr>
        <p:spPr>
          <a:xfrm>
            <a:off x="7945228" y="3541714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Content Placeholder 2">
            <a:extLst/>
          </p:cNvPr>
          <p:cNvSpPr>
            <a:spLocks noGrp="1"/>
          </p:cNvSpPr>
          <p:nvPr>
            <p:ph idx="21"/>
          </p:nvPr>
        </p:nvSpPr>
        <p:spPr>
          <a:xfrm>
            <a:off x="560993" y="3992575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Текст 12">
            <a:extLst/>
          </p:cNvPr>
          <p:cNvSpPr>
            <a:spLocks noGrp="1"/>
          </p:cNvSpPr>
          <p:nvPr>
            <p:ph type="body" sz="quarter" idx="22"/>
          </p:nvPr>
        </p:nvSpPr>
        <p:spPr>
          <a:xfrm>
            <a:off x="7945228" y="3992817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4" name="Content Placeholder 2">
            <a:extLst/>
          </p:cNvPr>
          <p:cNvSpPr>
            <a:spLocks noGrp="1"/>
          </p:cNvSpPr>
          <p:nvPr>
            <p:ph idx="23"/>
          </p:nvPr>
        </p:nvSpPr>
        <p:spPr>
          <a:xfrm>
            <a:off x="560993" y="4443679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12">
            <a:extLst/>
          </p:cNvPr>
          <p:cNvSpPr>
            <a:spLocks noGrp="1"/>
          </p:cNvSpPr>
          <p:nvPr>
            <p:ph type="body" sz="quarter" idx="24"/>
          </p:nvPr>
        </p:nvSpPr>
        <p:spPr>
          <a:xfrm>
            <a:off x="7945228" y="4443921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6" name="Content Placeholder 2">
            <a:extLst/>
          </p:cNvPr>
          <p:cNvSpPr>
            <a:spLocks noGrp="1"/>
          </p:cNvSpPr>
          <p:nvPr>
            <p:ph idx="25"/>
          </p:nvPr>
        </p:nvSpPr>
        <p:spPr>
          <a:xfrm>
            <a:off x="560993" y="4894783"/>
            <a:ext cx="7080093" cy="360000"/>
          </a:xfrm>
        </p:spPr>
        <p:txBody>
          <a:bodyPr/>
          <a:lstStyle>
            <a:lvl1pPr marL="0" indent="0">
              <a:buNone/>
              <a:defRPr sz="132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7" name="Текст 12">
            <a:extLst/>
          </p:cNvPr>
          <p:cNvSpPr>
            <a:spLocks noGrp="1"/>
          </p:cNvSpPr>
          <p:nvPr>
            <p:ph type="body" sz="quarter" idx="26"/>
          </p:nvPr>
        </p:nvSpPr>
        <p:spPr>
          <a:xfrm>
            <a:off x="7945228" y="4895025"/>
            <a:ext cx="1024616" cy="360000"/>
          </a:xfrm>
        </p:spPr>
        <p:txBody>
          <a:bodyPr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Номер слайда 7">
            <a:extLst/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AD6F5-835A-4522-B913-AFA257C5F78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607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Прямоугольник 5">
            <a:extLst/>
          </p:cNvPr>
          <p:cNvSpPr/>
          <p:nvPr userDrawn="1"/>
        </p:nvSpPr>
        <p:spPr>
          <a:xfrm>
            <a:off x="408715" y="2649538"/>
            <a:ext cx="47725" cy="122396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406" tIns="41704" rIns="83406" bIns="41704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7" dirty="0">
              <a:solidFill>
                <a:srgbClr val="FFD10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506" y="2649050"/>
            <a:ext cx="7100584" cy="766801"/>
          </a:xfrm>
        </p:spPr>
        <p:txBody>
          <a:bodyPr/>
          <a:lstStyle>
            <a:lvl1pPr>
              <a:defRPr sz="2087"/>
            </a:lvl1pPr>
          </a:lstStyle>
          <a:p>
            <a:r>
              <a:rPr lang="ru-RU" alt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506" y="3498471"/>
            <a:ext cx="7100584" cy="360000"/>
          </a:xfrm>
        </p:spPr>
        <p:txBody>
          <a:bodyPr/>
          <a:lstStyle>
            <a:lvl1pPr marL="0" marR="0" indent="0" algn="l" defTabSz="867456" rtl="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328" b="1">
                <a:solidFill>
                  <a:schemeClr val="tx1"/>
                </a:solidFill>
              </a:defRPr>
            </a:lvl1pPr>
            <a:lvl2pPr marL="433728" indent="0">
              <a:buNone/>
              <a:defRPr sz="1898">
                <a:solidFill>
                  <a:schemeClr val="tx1">
                    <a:tint val="75000"/>
                  </a:schemeClr>
                </a:solidFill>
              </a:defRPr>
            </a:lvl2pPr>
            <a:lvl3pPr marL="867456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3pPr>
            <a:lvl4pPr marL="1301182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4pPr>
            <a:lvl5pPr marL="1734910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5pPr>
            <a:lvl6pPr marL="2168637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6pPr>
            <a:lvl7pPr marL="2602366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7pPr>
            <a:lvl8pPr marL="3036092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8pPr>
            <a:lvl9pPr marL="3469820" indent="0">
              <a:buNone/>
              <a:defRPr sz="151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7">
            <a:extLst/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84D33B-8268-4360-B8D9-0F08A67FD13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55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7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0505" y="847005"/>
            <a:ext cx="8528265" cy="545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7568239" y="54546"/>
            <a:ext cx="1400307" cy="504000"/>
          </a:xfrm>
        </p:spPr>
        <p:txBody>
          <a:bodyPr lIns="90000" anchor="b"/>
          <a:lstStyle>
            <a:lvl1pPr marL="0" indent="0">
              <a:buNone/>
              <a:defRPr sz="759" b="1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Заголовок 5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Номер слайда 8">
            <a:extLst/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302CDC-6257-4EC7-A46D-69C6472CE06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276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/>
          </p:cNvPr>
          <p:cNvSpPr/>
          <p:nvPr userDrawn="1"/>
        </p:nvSpPr>
        <p:spPr bwMode="auto">
          <a:xfrm>
            <a:off x="411162" y="920751"/>
            <a:ext cx="48948" cy="529272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7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2707" y="856461"/>
            <a:ext cx="8406057" cy="545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Заголовок 2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7568239" y="54546"/>
            <a:ext cx="1400307" cy="504000"/>
          </a:xfrm>
        </p:spPr>
        <p:txBody>
          <a:bodyPr lIns="90000" anchor="b"/>
          <a:lstStyle>
            <a:lvl1pPr marL="0" indent="0">
              <a:buNone/>
              <a:defRPr sz="759" b="1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8">
            <a:extLst/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217F8-4CE4-483B-AB95-67BDCF7A97B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3412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8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0501" y="1360961"/>
            <a:ext cx="4131987" cy="495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439782" y="847434"/>
            <a:ext cx="4132711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Content Placeholder 3">
            <a:extLst/>
          </p:cNvPr>
          <p:cNvSpPr>
            <a:spLocks noGrp="1"/>
          </p:cNvSpPr>
          <p:nvPr>
            <p:ph sz="half" idx="15"/>
          </p:nvPr>
        </p:nvSpPr>
        <p:spPr>
          <a:xfrm>
            <a:off x="4824932" y="1360961"/>
            <a:ext cx="4131987" cy="495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Текст 4">
            <a:extLst/>
          </p:cNvPr>
          <p:cNvSpPr>
            <a:spLocks noGrp="1"/>
          </p:cNvSpPr>
          <p:nvPr>
            <p:ph type="body" sz="quarter" idx="16"/>
          </p:nvPr>
        </p:nvSpPr>
        <p:spPr>
          <a:xfrm>
            <a:off x="4824211" y="847434"/>
            <a:ext cx="4132711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Заголовок 2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Текст 4">
            <a:extLst/>
          </p:cNvPr>
          <p:cNvSpPr>
            <a:spLocks noGrp="1"/>
          </p:cNvSpPr>
          <p:nvPr>
            <p:ph type="body" sz="quarter" idx="17"/>
          </p:nvPr>
        </p:nvSpPr>
        <p:spPr>
          <a:xfrm>
            <a:off x="7568239" y="54546"/>
            <a:ext cx="1400307" cy="504000"/>
          </a:xfrm>
        </p:spPr>
        <p:txBody>
          <a:bodyPr lIns="90000" anchor="b"/>
          <a:lstStyle>
            <a:lvl1pPr marL="0" indent="0">
              <a:buNone/>
              <a:defRPr sz="759" b="1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Номер слайда 8">
            <a:extLst/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6A0F9-8419-46E8-BA2A-062A824965F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519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0503" y="1360961"/>
            <a:ext cx="2698154" cy="495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439778" y="847434"/>
            <a:ext cx="2698154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Content Placeholder 3">
            <a:extLst/>
          </p:cNvPr>
          <p:cNvSpPr>
            <a:spLocks noGrp="1"/>
          </p:cNvSpPr>
          <p:nvPr>
            <p:ph sz="half" idx="15"/>
          </p:nvPr>
        </p:nvSpPr>
        <p:spPr>
          <a:xfrm>
            <a:off x="6270778" y="1360961"/>
            <a:ext cx="2698154" cy="495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Текст 4">
            <a:extLst/>
          </p:cNvPr>
          <p:cNvSpPr>
            <a:spLocks noGrp="1"/>
          </p:cNvSpPr>
          <p:nvPr>
            <p:ph type="body" sz="quarter" idx="16"/>
          </p:nvPr>
        </p:nvSpPr>
        <p:spPr>
          <a:xfrm>
            <a:off x="6270056" y="847434"/>
            <a:ext cx="2698154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Content Placeholder 3">
            <a:extLst/>
          </p:cNvPr>
          <p:cNvSpPr>
            <a:spLocks noGrp="1"/>
          </p:cNvSpPr>
          <p:nvPr>
            <p:ph sz="half" idx="17"/>
          </p:nvPr>
        </p:nvSpPr>
        <p:spPr>
          <a:xfrm>
            <a:off x="3355952" y="1360961"/>
            <a:ext cx="2698154" cy="495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Текст 4">
            <a:extLst/>
          </p:cNvPr>
          <p:cNvSpPr>
            <a:spLocks noGrp="1"/>
          </p:cNvSpPr>
          <p:nvPr>
            <p:ph type="body" sz="quarter" idx="18"/>
          </p:nvPr>
        </p:nvSpPr>
        <p:spPr>
          <a:xfrm>
            <a:off x="3355230" y="847434"/>
            <a:ext cx="2698154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Заголовок 2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8" name="Текст 4">
            <a:extLst/>
          </p:cNvPr>
          <p:cNvSpPr>
            <a:spLocks noGrp="1"/>
          </p:cNvSpPr>
          <p:nvPr>
            <p:ph type="body" sz="quarter" idx="19"/>
          </p:nvPr>
        </p:nvSpPr>
        <p:spPr>
          <a:xfrm>
            <a:off x="7568239" y="54546"/>
            <a:ext cx="1400307" cy="504000"/>
          </a:xfrm>
        </p:spPr>
        <p:txBody>
          <a:bodyPr lIns="90000" anchor="b"/>
          <a:lstStyle>
            <a:lvl1pPr marL="0" indent="0">
              <a:buNone/>
              <a:defRPr sz="759" b="1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9" name="Номер слайда 8">
            <a:extLst/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C70A92-5D5C-4E8D-9111-57BD1D34058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907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3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7" descr="Covers Stripes 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237" y="646113"/>
            <a:ext cx="9410237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0501" y="1360672"/>
            <a:ext cx="4129200" cy="210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14"/>
          </p:nvPr>
        </p:nvSpPr>
        <p:spPr>
          <a:xfrm>
            <a:off x="439778" y="847146"/>
            <a:ext cx="4129200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Content Placeholder 3">
            <a:extLst/>
          </p:cNvPr>
          <p:cNvSpPr>
            <a:spLocks noGrp="1"/>
          </p:cNvSpPr>
          <p:nvPr>
            <p:ph sz="half" idx="15"/>
          </p:nvPr>
        </p:nvSpPr>
        <p:spPr>
          <a:xfrm>
            <a:off x="440501" y="4195426"/>
            <a:ext cx="4129200" cy="210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Текст 4">
            <a:extLst/>
          </p:cNvPr>
          <p:cNvSpPr>
            <a:spLocks noGrp="1"/>
          </p:cNvSpPr>
          <p:nvPr>
            <p:ph type="body" sz="quarter" idx="16"/>
          </p:nvPr>
        </p:nvSpPr>
        <p:spPr>
          <a:xfrm>
            <a:off x="439778" y="3681897"/>
            <a:ext cx="4129200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Content Placeholder 3">
            <a:extLst/>
          </p:cNvPr>
          <p:cNvSpPr>
            <a:spLocks noGrp="1"/>
          </p:cNvSpPr>
          <p:nvPr>
            <p:ph sz="half" idx="17"/>
          </p:nvPr>
        </p:nvSpPr>
        <p:spPr>
          <a:xfrm>
            <a:off x="4827288" y="1360672"/>
            <a:ext cx="4129200" cy="210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Текст 4">
            <a:extLst/>
          </p:cNvPr>
          <p:cNvSpPr>
            <a:spLocks noGrp="1"/>
          </p:cNvSpPr>
          <p:nvPr>
            <p:ph type="body" sz="quarter" idx="18"/>
          </p:nvPr>
        </p:nvSpPr>
        <p:spPr>
          <a:xfrm>
            <a:off x="4826564" y="847146"/>
            <a:ext cx="4129200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Content Placeholder 3">
            <a:extLst/>
          </p:cNvPr>
          <p:cNvSpPr>
            <a:spLocks noGrp="1"/>
          </p:cNvSpPr>
          <p:nvPr>
            <p:ph sz="half" idx="19"/>
          </p:nvPr>
        </p:nvSpPr>
        <p:spPr>
          <a:xfrm>
            <a:off x="4827288" y="4195426"/>
            <a:ext cx="4129200" cy="210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Текст 4">
            <a:extLst/>
          </p:cNvPr>
          <p:cNvSpPr>
            <a:spLocks noGrp="1"/>
          </p:cNvSpPr>
          <p:nvPr>
            <p:ph type="body" sz="quarter" idx="20"/>
          </p:nvPr>
        </p:nvSpPr>
        <p:spPr>
          <a:xfrm>
            <a:off x="4826564" y="3681897"/>
            <a:ext cx="4129200" cy="414337"/>
          </a:xfrm>
        </p:spPr>
        <p:txBody>
          <a:bodyPr anchor="ctr"/>
          <a:lstStyle>
            <a:lvl1pPr marL="0" indent="0">
              <a:buNone/>
              <a:defRPr sz="1328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Заголовок 2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2" name="Текст 4">
            <a:extLst/>
          </p:cNvPr>
          <p:cNvSpPr>
            <a:spLocks noGrp="1"/>
          </p:cNvSpPr>
          <p:nvPr>
            <p:ph type="body" sz="quarter" idx="21"/>
          </p:nvPr>
        </p:nvSpPr>
        <p:spPr>
          <a:xfrm>
            <a:off x="7568239" y="54546"/>
            <a:ext cx="1400307" cy="504000"/>
          </a:xfrm>
        </p:spPr>
        <p:txBody>
          <a:bodyPr lIns="90000" anchor="b"/>
          <a:lstStyle>
            <a:lvl1pPr marL="0" indent="0">
              <a:buNone/>
              <a:defRPr sz="759" b="1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3" name="Номер слайда 8">
            <a:extLst/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7E8B3C-B30A-4384-AF1D-A8DE043AB72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3200" y="6219187"/>
            <a:ext cx="2178835" cy="49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582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225" y="1589"/>
          <a:ext cx="12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1026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5" y="1589"/>
                        <a:ext cx="122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2237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18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40532" y="58739"/>
            <a:ext cx="6967736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79" y="836613"/>
            <a:ext cx="8525504" cy="547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7873" y="6475414"/>
            <a:ext cx="21145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38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1545" y="6469064"/>
            <a:ext cx="71831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33" b="1">
                <a:solidFill>
                  <a:srgbClr val="2C5F2F"/>
                </a:solidFill>
              </a:defRPr>
            </a:lvl1pPr>
          </a:lstStyle>
          <a:p>
            <a:pPr>
              <a:defRPr/>
            </a:pPr>
            <a:fld id="{F1883FE5-CC9E-4FB1-A8EF-BD36D1039EF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00145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hf hdr="0" ftr="0" dt="0"/>
  <p:txStyles>
    <p:titleStyle>
      <a:lvl1pPr algn="l" defTabSz="86634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65" b="1" kern="1200">
          <a:solidFill>
            <a:srgbClr val="2C5F2F"/>
          </a:solidFill>
          <a:latin typeface="+mj-lt"/>
          <a:ea typeface="+mj-ea"/>
          <a:cs typeface="+mj-cs"/>
        </a:defRPr>
      </a:lvl1pPr>
      <a:lvl2pPr algn="l" defTabSz="86634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2pPr>
      <a:lvl3pPr algn="l" defTabSz="86634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3pPr>
      <a:lvl4pPr algn="l" defTabSz="86634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4pPr>
      <a:lvl5pPr algn="l" defTabSz="86634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5pPr>
      <a:lvl6pPr marL="352410" algn="l" defTabSz="866341" rtl="0" fontAlgn="base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6pPr>
      <a:lvl7pPr marL="704820" algn="l" defTabSz="866341" rtl="0" fontAlgn="base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7pPr>
      <a:lvl8pPr marL="1057229" algn="l" defTabSz="866341" rtl="0" fontAlgn="base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8pPr>
      <a:lvl9pPr marL="1409639" algn="l" defTabSz="866341" rtl="0" fontAlgn="base">
        <a:lnSpc>
          <a:spcPct val="90000"/>
        </a:lnSpc>
        <a:spcBef>
          <a:spcPct val="0"/>
        </a:spcBef>
        <a:spcAft>
          <a:spcPct val="0"/>
        </a:spcAft>
        <a:defRPr sz="1465" b="1">
          <a:solidFill>
            <a:srgbClr val="2C5F2F"/>
          </a:solidFill>
          <a:latin typeface="Arial" pitchFamily="34" charset="0"/>
        </a:defRPr>
      </a:lvl9pPr>
    </p:titleStyle>
    <p:bodyStyle>
      <a:lvl1pPr marL="162745" indent="-162745" algn="l" defTabSz="866341" rtl="0" eaLnBrk="0" fontAlgn="base" hangingPunct="0">
        <a:spcBef>
          <a:spcPts val="289"/>
        </a:spcBef>
        <a:spcAft>
          <a:spcPct val="0"/>
        </a:spcAft>
        <a:buClr>
          <a:srgbClr val="2C5F2F"/>
        </a:buClr>
        <a:buSzPct val="110000"/>
        <a:buBlip>
          <a:blip r:embed="rId19"/>
        </a:buBlip>
        <a:defRPr sz="1079" kern="1200">
          <a:solidFill>
            <a:schemeClr val="tx1"/>
          </a:solidFill>
          <a:latin typeface="+mn-lt"/>
          <a:ea typeface="+mn-ea"/>
          <a:cs typeface="+mn-cs"/>
        </a:defRPr>
      </a:lvl1pPr>
      <a:lvl2pPr marL="326714" indent="-162745" algn="l" defTabSz="866341" rtl="0" eaLnBrk="0" fontAlgn="base" hangingPunct="0">
        <a:spcBef>
          <a:spcPts val="289"/>
        </a:spcBef>
        <a:spcAft>
          <a:spcPct val="0"/>
        </a:spcAft>
        <a:buClr>
          <a:srgbClr val="2C5F2F"/>
        </a:buClr>
        <a:buFont typeface="Wingdings" panose="05000000000000000000" pitchFamily="2" charset="2"/>
        <a:buChar char="§"/>
        <a:defRPr sz="1079" kern="1200">
          <a:solidFill>
            <a:schemeClr val="tx1"/>
          </a:solidFill>
          <a:latin typeface="+mn-lt"/>
          <a:ea typeface="+mn-ea"/>
          <a:cs typeface="+mn-cs"/>
        </a:defRPr>
      </a:lvl2pPr>
      <a:lvl3pPr marL="490682" indent="-162745" algn="l" defTabSz="866341" rtl="0" eaLnBrk="0" fontAlgn="base" hangingPunct="0">
        <a:spcBef>
          <a:spcPts val="289"/>
        </a:spcBef>
        <a:spcAft>
          <a:spcPct val="0"/>
        </a:spcAft>
        <a:buClr>
          <a:srgbClr val="2C5F2F"/>
        </a:buClr>
        <a:buSzPct val="120000"/>
        <a:buFont typeface="Arial" panose="020B0604020202020204" pitchFamily="34" charset="0"/>
        <a:buChar char="•"/>
        <a:defRPr sz="1079" kern="1200">
          <a:solidFill>
            <a:schemeClr val="tx1"/>
          </a:solidFill>
          <a:latin typeface="+mn-lt"/>
          <a:ea typeface="+mn-ea"/>
          <a:cs typeface="+mn-cs"/>
        </a:defRPr>
      </a:lvl3pPr>
      <a:lvl4pPr marL="654650" indent="-162745" algn="l" defTabSz="866341" rtl="0" eaLnBrk="0" fontAlgn="base" hangingPunct="0">
        <a:spcBef>
          <a:spcPts val="289"/>
        </a:spcBef>
        <a:spcAft>
          <a:spcPct val="0"/>
        </a:spcAft>
        <a:buClr>
          <a:srgbClr val="2C5F2F"/>
        </a:buClr>
        <a:buSzPct val="120000"/>
        <a:buFont typeface="Системный шрифт, обычный"/>
        <a:buChar char="⁃"/>
        <a:defRPr sz="1079" kern="1200">
          <a:solidFill>
            <a:schemeClr val="tx1"/>
          </a:solidFill>
          <a:latin typeface="+mn-lt"/>
          <a:ea typeface="+mn-ea"/>
          <a:cs typeface="+mn-cs"/>
        </a:defRPr>
      </a:lvl4pPr>
      <a:lvl5pPr marL="818619" indent="-162745" algn="l" defTabSz="866341" rtl="0" eaLnBrk="0" fontAlgn="base" hangingPunct="0">
        <a:spcBef>
          <a:spcPts val="289"/>
        </a:spcBef>
        <a:spcAft>
          <a:spcPct val="0"/>
        </a:spcAft>
        <a:buClr>
          <a:srgbClr val="2C5F2F"/>
        </a:buClr>
        <a:buSzPct val="60000"/>
        <a:buFont typeface=".Lucida Grande UI Regular"/>
        <a:buChar char="◆"/>
        <a:defRPr sz="1079" kern="1200">
          <a:solidFill>
            <a:schemeClr val="tx1"/>
          </a:solidFill>
          <a:latin typeface="+mn-lt"/>
          <a:ea typeface="+mn-ea"/>
          <a:cs typeface="+mn-cs"/>
        </a:defRPr>
      </a:lvl5pPr>
      <a:lvl6pPr marL="2385502" indent="-216865" algn="l" defTabSz="867456" rtl="0" eaLnBrk="1" latinLnBrk="0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7" kern="1200">
          <a:solidFill>
            <a:schemeClr val="tx1"/>
          </a:solidFill>
          <a:latin typeface="+mn-lt"/>
          <a:ea typeface="+mn-ea"/>
          <a:cs typeface="+mn-cs"/>
        </a:defRPr>
      </a:lvl6pPr>
      <a:lvl7pPr marL="2819227" indent="-216865" algn="l" defTabSz="867456" rtl="0" eaLnBrk="1" latinLnBrk="0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7" kern="1200">
          <a:solidFill>
            <a:schemeClr val="tx1"/>
          </a:solidFill>
          <a:latin typeface="+mn-lt"/>
          <a:ea typeface="+mn-ea"/>
          <a:cs typeface="+mn-cs"/>
        </a:defRPr>
      </a:lvl7pPr>
      <a:lvl8pPr marL="3252958" indent="-216865" algn="l" defTabSz="867456" rtl="0" eaLnBrk="1" latinLnBrk="0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7" kern="1200">
          <a:solidFill>
            <a:schemeClr val="tx1"/>
          </a:solidFill>
          <a:latin typeface="+mn-lt"/>
          <a:ea typeface="+mn-ea"/>
          <a:cs typeface="+mn-cs"/>
        </a:defRPr>
      </a:lvl8pPr>
      <a:lvl9pPr marL="3686683" indent="-216865" algn="l" defTabSz="867456" rtl="0" eaLnBrk="1" latinLnBrk="0" hangingPunct="1">
        <a:lnSpc>
          <a:spcPct val="90000"/>
        </a:lnSpc>
        <a:spcBef>
          <a:spcPts val="474"/>
        </a:spcBef>
        <a:buFont typeface="Arial" panose="020B0604020202020204" pitchFamily="34" charset="0"/>
        <a:buChar char="•"/>
        <a:defRPr sz="170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1pPr>
      <a:lvl2pPr marL="433728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2pPr>
      <a:lvl3pPr marL="867456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3pPr>
      <a:lvl4pPr marL="1301182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4pPr>
      <a:lvl5pPr marL="1734910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5pPr>
      <a:lvl6pPr marL="2168637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6pPr>
      <a:lvl7pPr marL="2602366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7pPr>
      <a:lvl8pPr marL="3036092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8pPr>
      <a:lvl9pPr marL="3469820" algn="l" defTabSz="867456" rtl="0" eaLnBrk="1" latinLnBrk="0" hangingPunct="1">
        <a:defRPr sz="170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46113" y="365125"/>
            <a:ext cx="8105775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91436" tIns="91436" rIns="91436" bIns="91436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46113" y="1825625"/>
            <a:ext cx="8105775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91436" tIns="91436" rIns="91436" bIns="91436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21357" y="6375411"/>
            <a:ext cx="330532" cy="327005"/>
          </a:xfrm>
          <a:prstGeom prst="rect">
            <a:avLst/>
          </a:prstGeom>
          <a:ln w="12700">
            <a:miter lim="400000"/>
          </a:ln>
        </p:spPr>
        <p:txBody>
          <a:bodyPr wrap="none" lIns="91436" tIns="91436" rIns="91436" bIns="91436" anchor="ctr">
            <a:spAutoFit/>
          </a:bodyPr>
          <a:lstStyle>
            <a:lvl1pPr algn="r">
              <a:defRPr sz="925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5347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transition spd="med"/>
  <p:hf hdr="0" ftr="0" dt="0"/>
  <p:txStyles>
    <p:titleStyle>
      <a:lvl1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1pPr>
      <a:lvl2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2pPr>
      <a:lvl3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3pPr>
      <a:lvl4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4pPr>
      <a:lvl5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5pPr>
      <a:lvl6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6pPr>
      <a:lvl7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7pPr>
      <a:lvl8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8pPr>
      <a:lvl9pPr marL="0" marR="0" indent="0" algn="l" defTabSz="70482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92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9pPr>
    </p:titleStyle>
    <p:bodyStyle>
      <a:lvl1pPr marL="176205" marR="0" indent="-176205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1pPr>
      <a:lvl2pPr marL="381777" marR="0" indent="-205572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2pPr>
      <a:lvl3pPr marL="599095" marR="0" indent="-24668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3pPr>
      <a:lvl4pPr marL="802711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4pPr>
      <a:lvl5pPr marL="978916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5pPr>
      <a:lvl6pPr marL="1155121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6pPr>
      <a:lvl7pPr marL="1331326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7pPr>
      <a:lvl8pPr marL="1507531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8pPr>
      <a:lvl9pPr marL="1683736" marR="0" indent="-274096" algn="l" defTabSz="704820" rtl="0" latinLnBrk="0">
        <a:lnSpc>
          <a:spcPct val="90000"/>
        </a:lnSpc>
        <a:spcBef>
          <a:spcPts val="771"/>
        </a:spcBef>
        <a:spcAft>
          <a:spcPts val="0"/>
        </a:spcAft>
        <a:buClrTx/>
        <a:buSzPct val="100000"/>
        <a:buFont typeface="Century Gothic"/>
        <a:buChar char="•"/>
        <a:tabLst/>
        <a:defRPr sz="2158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entury Gothic"/>
        </a:defRPr>
      </a:lvl9pPr>
    </p:bodyStyle>
    <p:otherStyle>
      <a:lvl1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1pPr>
      <a:lvl2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2pPr>
      <a:lvl3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3pPr>
      <a:lvl4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4pPr>
      <a:lvl5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5pPr>
      <a:lvl6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6pPr>
      <a:lvl7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7pPr>
      <a:lvl8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8pPr>
      <a:lvl9pPr marL="0" marR="0" indent="0" algn="r" defTabSz="7048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8061" y="427989"/>
            <a:ext cx="878187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8502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60626" y="1314560"/>
            <a:ext cx="885761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95320" y="6377940"/>
            <a:ext cx="3007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69900" y="6377940"/>
            <a:ext cx="21615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766560" y="6377940"/>
            <a:ext cx="21615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4815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33746">
        <a:defRPr>
          <a:latin typeface="+mn-lt"/>
          <a:ea typeface="+mn-ea"/>
          <a:cs typeface="+mn-cs"/>
        </a:defRPr>
      </a:lvl2pPr>
      <a:lvl3pPr marL="867491">
        <a:defRPr>
          <a:latin typeface="+mn-lt"/>
          <a:ea typeface="+mn-ea"/>
          <a:cs typeface="+mn-cs"/>
        </a:defRPr>
      </a:lvl3pPr>
      <a:lvl4pPr marL="1301237">
        <a:defRPr>
          <a:latin typeface="+mn-lt"/>
          <a:ea typeface="+mn-ea"/>
          <a:cs typeface="+mn-cs"/>
        </a:defRPr>
      </a:lvl4pPr>
      <a:lvl5pPr marL="1734983">
        <a:defRPr>
          <a:latin typeface="+mn-lt"/>
          <a:ea typeface="+mn-ea"/>
          <a:cs typeface="+mn-cs"/>
        </a:defRPr>
      </a:lvl5pPr>
      <a:lvl6pPr marL="2168728">
        <a:defRPr>
          <a:latin typeface="+mn-lt"/>
          <a:ea typeface="+mn-ea"/>
          <a:cs typeface="+mn-cs"/>
        </a:defRPr>
      </a:lvl6pPr>
      <a:lvl7pPr marL="2602474">
        <a:defRPr>
          <a:latin typeface="+mn-lt"/>
          <a:ea typeface="+mn-ea"/>
          <a:cs typeface="+mn-cs"/>
        </a:defRPr>
      </a:lvl7pPr>
      <a:lvl8pPr marL="3036219">
        <a:defRPr>
          <a:latin typeface="+mn-lt"/>
          <a:ea typeface="+mn-ea"/>
          <a:cs typeface="+mn-cs"/>
        </a:defRPr>
      </a:lvl8pPr>
      <a:lvl9pPr marL="3469965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33746">
        <a:defRPr>
          <a:latin typeface="+mn-lt"/>
          <a:ea typeface="+mn-ea"/>
          <a:cs typeface="+mn-cs"/>
        </a:defRPr>
      </a:lvl2pPr>
      <a:lvl3pPr marL="867491">
        <a:defRPr>
          <a:latin typeface="+mn-lt"/>
          <a:ea typeface="+mn-ea"/>
          <a:cs typeface="+mn-cs"/>
        </a:defRPr>
      </a:lvl3pPr>
      <a:lvl4pPr marL="1301237">
        <a:defRPr>
          <a:latin typeface="+mn-lt"/>
          <a:ea typeface="+mn-ea"/>
          <a:cs typeface="+mn-cs"/>
        </a:defRPr>
      </a:lvl4pPr>
      <a:lvl5pPr marL="1734983">
        <a:defRPr>
          <a:latin typeface="+mn-lt"/>
          <a:ea typeface="+mn-ea"/>
          <a:cs typeface="+mn-cs"/>
        </a:defRPr>
      </a:lvl5pPr>
      <a:lvl6pPr marL="2168728">
        <a:defRPr>
          <a:latin typeface="+mn-lt"/>
          <a:ea typeface="+mn-ea"/>
          <a:cs typeface="+mn-cs"/>
        </a:defRPr>
      </a:lvl6pPr>
      <a:lvl7pPr marL="2602474">
        <a:defRPr>
          <a:latin typeface="+mn-lt"/>
          <a:ea typeface="+mn-ea"/>
          <a:cs typeface="+mn-cs"/>
        </a:defRPr>
      </a:lvl7pPr>
      <a:lvl8pPr marL="3036219">
        <a:defRPr>
          <a:latin typeface="+mn-lt"/>
          <a:ea typeface="+mn-ea"/>
          <a:cs typeface="+mn-cs"/>
        </a:defRPr>
      </a:lvl8pPr>
      <a:lvl9pPr marL="3469965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6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9200"/>
            <a:ext cx="9398000" cy="4114799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24" y="787037"/>
          <a:ext cx="1224" cy="12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Слайд think-cell" r:id="rId5" imgW="344" imgH="344" progId="TCLayout.ActiveDocument.1">
                  <p:embed/>
                </p:oleObj>
              </mc:Choice>
              <mc:Fallback>
                <p:oleObj name="Слайд think-cell" r:id="rId5" imgW="344" imgH="34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24" y="787037"/>
                        <a:ext cx="1224" cy="12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294962" y="3163454"/>
            <a:ext cx="7855142" cy="881967"/>
          </a:xfrm>
          <a:prstGeom prst="rect">
            <a:avLst/>
          </a:prstGeom>
        </p:spPr>
        <p:txBody>
          <a:bodyPr lIns="83250" rIns="1387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Bef>
                <a:spcPts val="125"/>
              </a:spcBef>
            </a:pPr>
            <a:r>
              <a:rPr lang="ru-RU" sz="2000" spc="-20" dirty="0">
                <a:solidFill>
                  <a:srgbClr val="FFFFFF"/>
                </a:solidFill>
                <a:latin typeface="Arial"/>
                <a:cs typeface="Arial"/>
              </a:rPr>
              <a:t>АО </a:t>
            </a:r>
            <a:r>
              <a:rPr lang="ru-RU" sz="2000" spc="-15" dirty="0">
                <a:solidFill>
                  <a:srgbClr val="FFFFFF"/>
                </a:solidFill>
                <a:latin typeface="Arial"/>
                <a:cs typeface="Arial"/>
              </a:rPr>
              <a:t>«РОССЕЛЬХОЗБАНК» </a:t>
            </a:r>
            <a:r>
              <a:rPr lang="ru-RU" sz="2000" spc="5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r>
              <a:rPr lang="ru-RU" sz="2000" spc="-25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2000" dirty="0">
                <a:solidFill>
                  <a:srgbClr val="FFFFFF"/>
                </a:solidFill>
                <a:latin typeface="Arial"/>
                <a:cs typeface="Arial"/>
              </a:rPr>
              <a:t>надежный</a:t>
            </a:r>
            <a:endParaRPr lang="ru-RU" sz="2000" dirty="0">
              <a:latin typeface="Arial"/>
              <a:cs typeface="Arial"/>
            </a:endParaRPr>
          </a:p>
          <a:p>
            <a:pPr algn="ctr">
              <a:spcBef>
                <a:spcPts val="65"/>
              </a:spcBef>
            </a:pPr>
            <a:r>
              <a:rPr lang="ru-RU" sz="2000" spc="-11" dirty="0">
                <a:solidFill>
                  <a:srgbClr val="FFFFFF"/>
                </a:solidFill>
                <a:latin typeface="Arial"/>
                <a:cs typeface="Arial"/>
              </a:rPr>
              <a:t>партнер</a:t>
            </a:r>
            <a:endParaRPr lang="ru-RU" sz="2000" dirty="0">
              <a:latin typeface="Arial"/>
              <a:cs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 rot="5400000">
            <a:off x="-164301" y="3552668"/>
            <a:ext cx="888000" cy="30525"/>
          </a:xfrm>
          <a:prstGeom prst="rect">
            <a:avLst/>
          </a:prstGeom>
          <a:solidFill>
            <a:srgbClr val="FEC90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04820">
              <a:defRPr/>
            </a:pPr>
            <a:endParaRPr lang="ru-RU" sz="1387" kern="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8226742" y="3130514"/>
            <a:ext cx="915750" cy="915750"/>
            <a:chOff x="9088616" y="4464383"/>
            <a:chExt cx="1147723" cy="1044000"/>
          </a:xfrm>
        </p:grpSpPr>
        <p:sp>
          <p:nvSpPr>
            <p:cNvPr id="23" name="Прямоугольник 22"/>
            <p:cNvSpPr/>
            <p:nvPr/>
          </p:nvSpPr>
          <p:spPr>
            <a:xfrm rot="5400000">
              <a:off x="8590016" y="4962983"/>
              <a:ext cx="1044000" cy="46800"/>
            </a:xfrm>
            <a:prstGeom prst="rect">
              <a:avLst/>
            </a:prstGeom>
            <a:solidFill>
              <a:srgbClr val="FEC90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 rot="5400000">
              <a:off x="8761193" y="4937783"/>
              <a:ext cx="1044000" cy="97200"/>
            </a:xfrm>
            <a:prstGeom prst="rect">
              <a:avLst/>
            </a:prstGeom>
            <a:solidFill>
              <a:srgbClr val="27864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rot="5400000">
              <a:off x="8920756" y="4959383"/>
              <a:ext cx="1044000" cy="54000"/>
            </a:xfrm>
            <a:prstGeom prst="rect">
              <a:avLst/>
            </a:prstGeom>
            <a:solidFill>
              <a:srgbClr val="FECB0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 rot="5400000">
              <a:off x="9010119" y="4924020"/>
              <a:ext cx="1044000" cy="124726"/>
            </a:xfrm>
            <a:prstGeom prst="rect">
              <a:avLst/>
            </a:prstGeom>
            <a:solidFill>
              <a:srgbClr val="A5CC3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 rot="5400000">
              <a:off x="9382436" y="4903583"/>
              <a:ext cx="1044000" cy="1656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 rot="5400000">
              <a:off x="9177696" y="4935983"/>
              <a:ext cx="1044000" cy="1008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 rot="5400000">
              <a:off x="9665739" y="4937783"/>
              <a:ext cx="1044000" cy="97200"/>
            </a:xfrm>
            <a:prstGeom prst="rect">
              <a:avLst/>
            </a:prstGeom>
            <a:solidFill>
              <a:srgbClr val="27864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704820">
                <a:defRPr/>
              </a:pPr>
              <a:endParaRPr lang="ru-RU" sz="1387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5" name="object 9"/>
          <p:cNvSpPr txBox="1">
            <a:spLocks/>
          </p:cNvSpPr>
          <p:nvPr/>
        </p:nvSpPr>
        <p:spPr>
          <a:xfrm>
            <a:off x="304731" y="304800"/>
            <a:ext cx="3175069" cy="439351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>
            <a:lvl1pPr>
              <a:defRPr sz="270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51" i="0" u="none" strike="noStrike" kern="0" cap="none" spc="15" normalizeH="0" baseline="0" noProof="0" dirty="0" smtClean="0">
                <a:ln>
                  <a:noFill/>
                </a:ln>
                <a:solidFill>
                  <a:srgbClr val="284E2D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С </a:t>
            </a:r>
            <a:r>
              <a:rPr kumimoji="0" lang="ru-RU" sz="2751" i="0" u="none" strike="noStrike" kern="0" cap="none" spc="-15" normalizeH="0" baseline="0" noProof="0" dirty="0" smtClean="0">
                <a:ln>
                  <a:noFill/>
                </a:ln>
                <a:solidFill>
                  <a:srgbClr val="284E2D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нами</a:t>
            </a:r>
            <a:r>
              <a:rPr kumimoji="0" lang="ru-RU" sz="2751" i="0" u="none" strike="noStrike" kern="0" cap="none" spc="155" normalizeH="0" baseline="0" noProof="0" dirty="0" smtClean="0">
                <a:ln>
                  <a:noFill/>
                </a:ln>
                <a:solidFill>
                  <a:srgbClr val="284E2D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ru-RU" sz="2751" i="0" u="none" strike="noStrike" kern="0" cap="none" spc="-5" normalizeH="0" baseline="0" noProof="0" dirty="0" smtClean="0">
                <a:ln>
                  <a:noFill/>
                </a:ln>
                <a:solidFill>
                  <a:srgbClr val="284E2D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надежно</a:t>
            </a:r>
            <a:endParaRPr kumimoji="0" lang="ru-RU" sz="275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400" y="152514"/>
            <a:ext cx="963641" cy="829162"/>
          </a:xfrm>
          <a:prstGeom prst="rect">
            <a:avLst/>
          </a:prstGeom>
        </p:spPr>
      </p:pic>
      <p:sp>
        <p:nvSpPr>
          <p:cNvPr id="17" name="РОССЕЛЬХОЗБАНК СЕГОДНЯ"/>
          <p:cNvSpPr txBox="1"/>
          <p:nvPr/>
        </p:nvSpPr>
        <p:spPr>
          <a:xfrm>
            <a:off x="98617" y="5629462"/>
            <a:ext cx="8481989" cy="3481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241" tIns="35241" rIns="35241" bIns="35241">
            <a:spAutoFit/>
          </a:bodyPr>
          <a:lstStyle>
            <a:lvl1pPr algn="ctr">
              <a:lnSpc>
                <a:spcPct val="90000"/>
              </a:lnSpc>
              <a:defRPr sz="5500" b="1" cap="all" spc="550">
                <a:solidFill>
                  <a:srgbClr val="294F31"/>
                </a:solidFill>
              </a:defRPr>
            </a:lvl1pPr>
          </a:lstStyle>
          <a:p>
            <a:pPr marL="12700" algn="l" defTabSz="914400">
              <a:lnSpc>
                <a:spcPct val="100000"/>
              </a:lnSpc>
              <a:spcBef>
                <a:spcPts val="125"/>
              </a:spcBef>
            </a:pPr>
            <a:r>
              <a:rPr lang="ru-RU" sz="1800" kern="0" cap="none" spc="15" dirty="0">
                <a:solidFill>
                  <a:srgbClr val="284E2D"/>
                </a:solidFill>
                <a:latin typeface="Arial"/>
                <a:ea typeface="+mj-ea"/>
                <a:cs typeface="Arial"/>
                <a:sym typeface="Century Gothic"/>
              </a:rPr>
              <a:t>УПОЛНОМОЧЕННЫЙ ПРЕДСТАВИТЕЛЬ РСХБ</a:t>
            </a:r>
            <a:endParaRPr sz="1800" kern="0" cap="none" spc="15" dirty="0">
              <a:solidFill>
                <a:srgbClr val="284E2D"/>
              </a:solidFill>
              <a:latin typeface="Arial"/>
              <a:ea typeface="+mj-ea"/>
              <a:cs typeface="Arial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31127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149596" y="1371600"/>
            <a:ext cx="4064004" cy="3938764"/>
            <a:chOff x="5622319" y="1689734"/>
            <a:chExt cx="4283680" cy="4022724"/>
          </a:xfrm>
        </p:grpSpPr>
        <p:sp>
          <p:nvSpPr>
            <p:cNvPr id="3" name="object 3"/>
            <p:cNvSpPr/>
            <p:nvPr/>
          </p:nvSpPr>
          <p:spPr>
            <a:xfrm>
              <a:off x="5622319" y="1689734"/>
              <a:ext cx="2273301" cy="3993515"/>
            </a:xfrm>
            <a:custGeom>
              <a:avLst/>
              <a:gdLst/>
              <a:ahLst/>
              <a:cxnLst/>
              <a:rect l="l" t="t" r="r" b="b"/>
              <a:pathLst>
                <a:path w="2273300" h="3993515">
                  <a:moveTo>
                    <a:pt x="0" y="811353"/>
                  </a:moveTo>
                  <a:lnTo>
                    <a:pt x="15436" y="765959"/>
                  </a:lnTo>
                  <a:lnTo>
                    <a:pt x="32550" y="721614"/>
                  </a:lnTo>
                  <a:lnTo>
                    <a:pt x="51292" y="678343"/>
                  </a:lnTo>
                  <a:lnTo>
                    <a:pt x="71618" y="636170"/>
                  </a:lnTo>
                  <a:lnTo>
                    <a:pt x="93479" y="595119"/>
                  </a:lnTo>
                  <a:lnTo>
                    <a:pt x="116829" y="555215"/>
                  </a:lnTo>
                  <a:lnTo>
                    <a:pt x="141620" y="516482"/>
                  </a:lnTo>
                  <a:lnTo>
                    <a:pt x="167806" y="478944"/>
                  </a:lnTo>
                  <a:lnTo>
                    <a:pt x="195340" y="442626"/>
                  </a:lnTo>
                  <a:lnTo>
                    <a:pt x="224174" y="407552"/>
                  </a:lnTo>
                  <a:lnTo>
                    <a:pt x="254263" y="373747"/>
                  </a:lnTo>
                  <a:lnTo>
                    <a:pt x="285557" y="341235"/>
                  </a:lnTo>
                  <a:lnTo>
                    <a:pt x="318012" y="310039"/>
                  </a:lnTo>
                  <a:lnTo>
                    <a:pt x="351580" y="280186"/>
                  </a:lnTo>
                  <a:lnTo>
                    <a:pt x="386213" y="251698"/>
                  </a:lnTo>
                  <a:lnTo>
                    <a:pt x="421865" y="224601"/>
                  </a:lnTo>
                  <a:lnTo>
                    <a:pt x="458489" y="198918"/>
                  </a:lnTo>
                  <a:lnTo>
                    <a:pt x="496038" y="174674"/>
                  </a:lnTo>
                  <a:lnTo>
                    <a:pt x="534464" y="151894"/>
                  </a:lnTo>
                  <a:lnTo>
                    <a:pt x="573722" y="130601"/>
                  </a:lnTo>
                  <a:lnTo>
                    <a:pt x="613763" y="110820"/>
                  </a:lnTo>
                  <a:lnTo>
                    <a:pt x="654542" y="92576"/>
                  </a:lnTo>
                  <a:lnTo>
                    <a:pt x="696010" y="75893"/>
                  </a:lnTo>
                  <a:lnTo>
                    <a:pt x="738121" y="60795"/>
                  </a:lnTo>
                  <a:lnTo>
                    <a:pt x="780829" y="47306"/>
                  </a:lnTo>
                  <a:lnTo>
                    <a:pt x="824085" y="35452"/>
                  </a:lnTo>
                  <a:lnTo>
                    <a:pt x="867843" y="25255"/>
                  </a:lnTo>
                  <a:lnTo>
                    <a:pt x="912057" y="16741"/>
                  </a:lnTo>
                  <a:lnTo>
                    <a:pt x="956678" y="9935"/>
                  </a:lnTo>
                  <a:lnTo>
                    <a:pt x="1001660" y="4859"/>
                  </a:lnTo>
                  <a:lnTo>
                    <a:pt x="1046957" y="1539"/>
                  </a:lnTo>
                  <a:lnTo>
                    <a:pt x="1092521" y="0"/>
                  </a:lnTo>
                  <a:lnTo>
                    <a:pt x="1138304" y="264"/>
                  </a:lnTo>
                  <a:lnTo>
                    <a:pt x="1184261" y="2358"/>
                  </a:lnTo>
                  <a:lnTo>
                    <a:pt x="1230344" y="6304"/>
                  </a:lnTo>
                  <a:lnTo>
                    <a:pt x="1276506" y="12128"/>
                  </a:lnTo>
                  <a:lnTo>
                    <a:pt x="1322701" y="19854"/>
                  </a:lnTo>
                  <a:lnTo>
                    <a:pt x="1368881" y="29506"/>
                  </a:lnTo>
                  <a:lnTo>
                    <a:pt x="1414998" y="41109"/>
                  </a:lnTo>
                  <a:lnTo>
                    <a:pt x="1461008" y="54687"/>
                  </a:lnTo>
                  <a:lnTo>
                    <a:pt x="1506430" y="70104"/>
                  </a:lnTo>
                  <a:lnTo>
                    <a:pt x="1550802" y="87199"/>
                  </a:lnTo>
                  <a:lnTo>
                    <a:pt x="1594099" y="105922"/>
                  </a:lnTo>
                  <a:lnTo>
                    <a:pt x="1636297" y="126229"/>
                  </a:lnTo>
                  <a:lnTo>
                    <a:pt x="1677373" y="148070"/>
                  </a:lnTo>
                  <a:lnTo>
                    <a:pt x="1717300" y="171401"/>
                  </a:lnTo>
                  <a:lnTo>
                    <a:pt x="1756056" y="196173"/>
                  </a:lnTo>
                  <a:lnTo>
                    <a:pt x="1793615" y="222339"/>
                  </a:lnTo>
                  <a:lnTo>
                    <a:pt x="1829954" y="249853"/>
                  </a:lnTo>
                  <a:lnTo>
                    <a:pt x="1865048" y="278667"/>
                  </a:lnTo>
                  <a:lnTo>
                    <a:pt x="1898873" y="308735"/>
                  </a:lnTo>
                  <a:lnTo>
                    <a:pt x="1931403" y="340009"/>
                  </a:lnTo>
                  <a:lnTo>
                    <a:pt x="1962616" y="372443"/>
                  </a:lnTo>
                  <a:lnTo>
                    <a:pt x="1992487" y="405989"/>
                  </a:lnTo>
                  <a:lnTo>
                    <a:pt x="2020990" y="440601"/>
                  </a:lnTo>
                  <a:lnTo>
                    <a:pt x="2048103" y="476231"/>
                  </a:lnTo>
                  <a:lnTo>
                    <a:pt x="2073800" y="512833"/>
                  </a:lnTo>
                  <a:lnTo>
                    <a:pt x="2098058" y="550359"/>
                  </a:lnTo>
                  <a:lnTo>
                    <a:pt x="2120851" y="588762"/>
                  </a:lnTo>
                  <a:lnTo>
                    <a:pt x="2142156" y="627996"/>
                  </a:lnTo>
                  <a:lnTo>
                    <a:pt x="2161948" y="668014"/>
                  </a:lnTo>
                  <a:lnTo>
                    <a:pt x="2180203" y="708768"/>
                  </a:lnTo>
                  <a:lnTo>
                    <a:pt x="2196897" y="750211"/>
                  </a:lnTo>
                  <a:lnTo>
                    <a:pt x="2212004" y="792297"/>
                  </a:lnTo>
                  <a:lnTo>
                    <a:pt x="2225502" y="834978"/>
                  </a:lnTo>
                  <a:lnTo>
                    <a:pt x="2237364" y="878207"/>
                  </a:lnTo>
                  <a:lnTo>
                    <a:pt x="2247568" y="921938"/>
                  </a:lnTo>
                  <a:lnTo>
                    <a:pt x="2256089" y="966123"/>
                  </a:lnTo>
                  <a:lnTo>
                    <a:pt x="2262902" y="1010716"/>
                  </a:lnTo>
                  <a:lnTo>
                    <a:pt x="2267983" y="1055669"/>
                  </a:lnTo>
                  <a:lnTo>
                    <a:pt x="2271308" y="1100935"/>
                  </a:lnTo>
                  <a:lnTo>
                    <a:pt x="2272852" y="1146468"/>
                  </a:lnTo>
                  <a:lnTo>
                    <a:pt x="2272592" y="1192220"/>
                  </a:lnTo>
                  <a:lnTo>
                    <a:pt x="2270502" y="1238145"/>
                  </a:lnTo>
                  <a:lnTo>
                    <a:pt x="2266558" y="1284195"/>
                  </a:lnTo>
                  <a:lnTo>
                    <a:pt x="2260736" y="1330323"/>
                  </a:lnTo>
                  <a:lnTo>
                    <a:pt x="2253012" y="1376482"/>
                  </a:lnTo>
                  <a:lnTo>
                    <a:pt x="2243361" y="1422626"/>
                  </a:lnTo>
                  <a:lnTo>
                    <a:pt x="2231759" y="1468707"/>
                  </a:lnTo>
                  <a:lnTo>
                    <a:pt x="2218182" y="1514679"/>
                  </a:lnTo>
                  <a:lnTo>
                    <a:pt x="2201058" y="1564601"/>
                  </a:lnTo>
                  <a:lnTo>
                    <a:pt x="2181718" y="1613628"/>
                  </a:lnTo>
                  <a:lnTo>
                    <a:pt x="2160198" y="1661689"/>
                  </a:lnTo>
                  <a:lnTo>
                    <a:pt x="2136537" y="1708713"/>
                  </a:lnTo>
                  <a:lnTo>
                    <a:pt x="2110772" y="1754627"/>
                  </a:lnTo>
                  <a:lnTo>
                    <a:pt x="2082941" y="1799362"/>
                  </a:lnTo>
                  <a:lnTo>
                    <a:pt x="2053082" y="1842847"/>
                  </a:lnTo>
                </a:path>
                <a:path w="2273300" h="3993515">
                  <a:moveTo>
                    <a:pt x="2052955" y="1842720"/>
                  </a:moveTo>
                  <a:lnTo>
                    <a:pt x="145161" y="3992944"/>
                  </a:lnTo>
                </a:path>
              </a:pathLst>
            </a:custGeom>
            <a:ln w="57912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5783579" y="5654039"/>
              <a:ext cx="4122420" cy="58419"/>
            </a:xfrm>
            <a:custGeom>
              <a:avLst/>
              <a:gdLst/>
              <a:ahLst/>
              <a:cxnLst/>
              <a:rect l="l" t="t" r="r" b="b"/>
              <a:pathLst>
                <a:path w="4122420" h="58420">
                  <a:moveTo>
                    <a:pt x="0" y="57912"/>
                  </a:moveTo>
                  <a:lnTo>
                    <a:pt x="4122419" y="57912"/>
                  </a:lnTo>
                  <a:lnTo>
                    <a:pt x="4122419" y="0"/>
                  </a:lnTo>
                  <a:lnTo>
                    <a:pt x="0" y="0"/>
                  </a:lnTo>
                  <a:lnTo>
                    <a:pt x="0" y="57912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5" name="object 5"/>
          <p:cNvSpPr/>
          <p:nvPr/>
        </p:nvSpPr>
        <p:spPr>
          <a:xfrm>
            <a:off x="0" y="1844352"/>
            <a:ext cx="1141014" cy="490383"/>
          </a:xfrm>
          <a:custGeom>
            <a:avLst/>
            <a:gdLst/>
            <a:ahLst/>
            <a:cxnLst/>
            <a:rect l="l" t="t" r="r" b="b"/>
            <a:pathLst>
              <a:path w="1202690" h="516889">
                <a:moveTo>
                  <a:pt x="1202435" y="0"/>
                </a:moveTo>
                <a:lnTo>
                  <a:pt x="0" y="0"/>
                </a:lnTo>
                <a:lnTo>
                  <a:pt x="0" y="516636"/>
                </a:lnTo>
                <a:lnTo>
                  <a:pt x="1073276" y="516636"/>
                </a:lnTo>
                <a:lnTo>
                  <a:pt x="1202435" y="0"/>
                </a:lnTo>
                <a:close/>
              </a:path>
            </a:pathLst>
          </a:custGeom>
          <a:solidFill>
            <a:srgbClr val="00893D"/>
          </a:solidFill>
        </p:spPr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42473" y="501605"/>
            <a:ext cx="3589312" cy="733049"/>
          </a:xfrm>
          <a:prstGeom prst="rect">
            <a:avLst/>
          </a:prstGeom>
        </p:spPr>
        <p:txBody>
          <a:bodyPr vert="horz" wrap="square" lIns="0" tIns="50002" rIns="0" bIns="0" rtlCol="0">
            <a:spAutoFit/>
          </a:bodyPr>
          <a:lstStyle/>
          <a:p>
            <a:pPr marL="12048">
              <a:spcBef>
                <a:spcPts val="394"/>
              </a:spcBef>
            </a:pPr>
            <a:r>
              <a:rPr sz="3036" spc="237" dirty="0"/>
              <a:t>Россельхозбанк</a:t>
            </a:r>
            <a:endParaRPr sz="3036" dirty="0"/>
          </a:p>
          <a:p>
            <a:pPr marL="1659679">
              <a:spcBef>
                <a:spcPts val="222"/>
              </a:spcBef>
            </a:pPr>
            <a:r>
              <a:rPr sz="1233" dirty="0" smtClean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+mn-ea"/>
                <a:cs typeface="+mn-cs"/>
              </a:rPr>
              <a:t>Сегодня</a:t>
            </a:r>
            <a:endParaRPr sz="1233" dirty="0">
              <a:solidFill>
                <a:srgbClr val="535353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568282" y="2065085"/>
            <a:ext cx="1016309" cy="691840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lnSpc>
                <a:spcPts val="2704"/>
              </a:lnSpc>
              <a:spcBef>
                <a:spcPts val="95"/>
              </a:spcBef>
            </a:pPr>
            <a:r>
              <a:rPr sz="2277" b="1" spc="38" dirty="0">
                <a:solidFill>
                  <a:srgbClr val="00AF50"/>
                </a:solidFill>
                <a:latin typeface="Arial"/>
                <a:cs typeface="Arial"/>
              </a:rPr>
              <a:t>81</a:t>
            </a:r>
            <a:endParaRPr sz="2277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048" defTabSz="867491">
              <a:lnSpc>
                <a:spcPts val="1271"/>
              </a:lnSpc>
            </a:pPr>
            <a:r>
              <a:rPr sz="1138" spc="52" dirty="0">
                <a:solidFill>
                  <a:srgbClr val="BEBEBE"/>
                </a:solidFill>
                <a:latin typeface="Microsoft Sans Serif"/>
                <a:cs typeface="Microsoft Sans Serif"/>
              </a:rPr>
              <a:t>СУБЪЕКТ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048" defTabSz="867491">
              <a:lnSpc>
                <a:spcPts val="1300"/>
              </a:lnSpc>
            </a:pPr>
            <a:r>
              <a:rPr sz="1138" spc="43" dirty="0">
                <a:solidFill>
                  <a:srgbClr val="BEBEBE"/>
                </a:solidFill>
                <a:latin typeface="Microsoft Sans Serif"/>
                <a:cs typeface="Microsoft Sans Serif"/>
              </a:rPr>
              <a:t>ФЕДЕРАЦИИ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535028" y="3700577"/>
            <a:ext cx="1646457" cy="1771559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lnSpc>
                <a:spcPts val="2723"/>
              </a:lnSpc>
              <a:spcBef>
                <a:spcPts val="95"/>
              </a:spcBef>
            </a:pPr>
            <a:r>
              <a:rPr sz="2277" b="1" spc="14" dirty="0">
                <a:solidFill>
                  <a:srgbClr val="00AF50"/>
                </a:solidFill>
                <a:latin typeface="Arial"/>
                <a:cs typeface="Arial"/>
              </a:rPr>
              <a:t>12</a:t>
            </a:r>
            <a:r>
              <a:rPr sz="2277" b="1" spc="57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2277" b="1" spc="24" dirty="0">
                <a:solidFill>
                  <a:srgbClr val="00AF50"/>
                </a:solidFill>
                <a:latin typeface="Arial"/>
                <a:cs typeface="Arial"/>
              </a:rPr>
              <a:t>500</a:t>
            </a:r>
            <a:endParaRPr sz="2277" dirty="0">
              <a:solidFill>
                <a:prstClr val="black"/>
              </a:solidFill>
              <a:latin typeface="Arial"/>
              <a:cs typeface="Arial"/>
            </a:endParaRPr>
          </a:p>
          <a:p>
            <a:pPr marL="46387" defTabSz="867491">
              <a:lnSpc>
                <a:spcPts val="1290"/>
              </a:lnSpc>
            </a:pPr>
            <a:r>
              <a:rPr sz="1138" spc="52" dirty="0">
                <a:solidFill>
                  <a:srgbClr val="BEBEBE"/>
                </a:solidFill>
                <a:latin typeface="Microsoft Sans Serif"/>
                <a:cs typeface="Microsoft Sans Serif"/>
              </a:rPr>
              <a:t>БАНКОМАТОВ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46387" marR="62652" defTabSz="867491">
              <a:lnSpc>
                <a:spcPts val="1233"/>
              </a:lnSpc>
              <a:spcBef>
                <a:spcPts val="81"/>
              </a:spcBef>
            </a:pPr>
            <a:r>
              <a:rPr sz="1138" dirty="0">
                <a:solidFill>
                  <a:srgbClr val="BEBEBE"/>
                </a:solidFill>
                <a:latin typeface="Microsoft Sans Serif"/>
                <a:cs typeface="Microsoft Sans Serif"/>
              </a:rPr>
              <a:t>В</a:t>
            </a:r>
            <a:r>
              <a:rPr sz="1138" spc="142" dirty="0">
                <a:solidFill>
                  <a:srgbClr val="BEBEBE"/>
                </a:solidFill>
                <a:latin typeface="Microsoft Sans Serif"/>
                <a:cs typeface="Microsoft Sans Serif"/>
              </a:rPr>
              <a:t> </a:t>
            </a:r>
            <a:r>
              <a:rPr sz="1138" spc="66" dirty="0">
                <a:solidFill>
                  <a:srgbClr val="BEBEBE"/>
                </a:solidFill>
                <a:latin typeface="Microsoft Sans Serif"/>
                <a:cs typeface="Microsoft Sans Serif"/>
              </a:rPr>
              <a:t>ОБЪЕДИНЕННОЙ </a:t>
            </a:r>
            <a:r>
              <a:rPr sz="1138" spc="-285" dirty="0">
                <a:solidFill>
                  <a:srgbClr val="BEBEBE"/>
                </a:solidFill>
                <a:latin typeface="Microsoft Sans Serif"/>
                <a:cs typeface="Microsoft Sans Serif"/>
              </a:rPr>
              <a:t> </a:t>
            </a:r>
            <a:r>
              <a:rPr sz="1138" spc="66" dirty="0">
                <a:solidFill>
                  <a:srgbClr val="BEBEBE"/>
                </a:solidFill>
                <a:latin typeface="Microsoft Sans Serif"/>
                <a:cs typeface="Microsoft Sans Serif"/>
              </a:rPr>
              <a:t>СЕТИ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40965" defTabSz="867491">
              <a:spcBef>
                <a:spcPts val="564"/>
              </a:spcBef>
            </a:pPr>
            <a:r>
              <a:rPr sz="2277" b="1" spc="19" dirty="0">
                <a:solidFill>
                  <a:srgbClr val="00AF50"/>
                </a:solidFill>
                <a:latin typeface="Arial"/>
                <a:cs typeface="Arial"/>
              </a:rPr>
              <a:t>&gt;1</a:t>
            </a:r>
            <a:r>
              <a:rPr sz="2277" b="1" spc="57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2277" b="1" spc="38" dirty="0">
                <a:solidFill>
                  <a:srgbClr val="00AF50"/>
                </a:solidFill>
                <a:latin typeface="Arial"/>
                <a:cs typeface="Arial"/>
              </a:rPr>
              <a:t>700</a:t>
            </a:r>
            <a:endParaRPr sz="2277" dirty="0">
              <a:solidFill>
                <a:prstClr val="black"/>
              </a:solidFill>
              <a:latin typeface="Arial"/>
              <a:cs typeface="Arial"/>
            </a:endParaRPr>
          </a:p>
          <a:p>
            <a:pPr marL="47592" marR="4819" defTabSz="867491">
              <a:lnSpc>
                <a:spcPct val="90100"/>
              </a:lnSpc>
              <a:spcBef>
                <a:spcPts val="171"/>
              </a:spcBef>
            </a:pP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ИН</a:t>
            </a:r>
            <a:r>
              <a:rPr sz="1138" spc="-19" dirty="0">
                <a:solidFill>
                  <a:srgbClr val="BEBEBE"/>
                </a:solidFill>
                <a:latin typeface="Microsoft Sans Serif"/>
                <a:cs typeface="Microsoft Sans Serif"/>
              </a:rPr>
              <a:t>Ф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О</a:t>
            </a:r>
            <a:r>
              <a:rPr sz="1138" spc="81" dirty="0">
                <a:solidFill>
                  <a:srgbClr val="BEBEBE"/>
                </a:solidFill>
                <a:latin typeface="Microsoft Sans Serif"/>
                <a:cs typeface="Microsoft Sans Serif"/>
              </a:rPr>
              <a:t>Р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М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А</a:t>
            </a:r>
            <a:r>
              <a:rPr sz="1138" spc="81" dirty="0">
                <a:solidFill>
                  <a:srgbClr val="BEBEBE"/>
                </a:solidFill>
                <a:latin typeface="Microsoft Sans Serif"/>
                <a:cs typeface="Microsoft Sans Serif"/>
              </a:rPr>
              <a:t>Ц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И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О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НН</a:t>
            </a:r>
            <a:r>
              <a:rPr sz="1138" spc="108" dirty="0">
                <a:solidFill>
                  <a:srgbClr val="BEBEBE"/>
                </a:solidFill>
                <a:latin typeface="Microsoft Sans Serif"/>
                <a:cs typeface="Microsoft Sans Serif"/>
              </a:rPr>
              <a:t>О</a:t>
            </a:r>
            <a:r>
              <a:rPr sz="1138" dirty="0">
                <a:solidFill>
                  <a:srgbClr val="BEBEBE"/>
                </a:solidFill>
                <a:latin typeface="Microsoft Sans Serif"/>
                <a:cs typeface="Microsoft Sans Serif"/>
              </a:rPr>
              <a:t>-  </a:t>
            </a:r>
            <a:r>
              <a:rPr sz="1138" spc="66" dirty="0">
                <a:solidFill>
                  <a:srgbClr val="BEBEBE"/>
                </a:solidFill>
                <a:latin typeface="Microsoft Sans Serif"/>
                <a:cs typeface="Microsoft Sans Serif"/>
              </a:rPr>
              <a:t>ПЛАТЕЖНЫХ </a:t>
            </a:r>
            <a:r>
              <a:rPr sz="1138" spc="71" dirty="0">
                <a:solidFill>
                  <a:srgbClr val="BEBEBE"/>
                </a:solidFill>
                <a:latin typeface="Microsoft Sans Serif"/>
                <a:cs typeface="Microsoft Sans Serif"/>
              </a:rPr>
              <a:t> </a:t>
            </a:r>
            <a:r>
              <a:rPr sz="1138" spc="76" dirty="0">
                <a:solidFill>
                  <a:srgbClr val="BEBEBE"/>
                </a:solidFill>
                <a:latin typeface="Microsoft Sans Serif"/>
                <a:cs typeface="Microsoft Sans Serif"/>
              </a:rPr>
              <a:t>ТЕРМИНАЛОВ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569968" y="2900495"/>
            <a:ext cx="1609709" cy="666192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651" defTabSz="867491">
              <a:lnSpc>
                <a:spcPts val="2642"/>
              </a:lnSpc>
              <a:spcBef>
                <a:spcPts val="95"/>
              </a:spcBef>
            </a:pPr>
            <a:r>
              <a:rPr sz="2277" b="1" spc="19" dirty="0">
                <a:solidFill>
                  <a:srgbClr val="00AF50"/>
                </a:solidFill>
                <a:latin typeface="Arial"/>
                <a:cs typeface="Arial"/>
              </a:rPr>
              <a:t>&gt;1</a:t>
            </a:r>
            <a:r>
              <a:rPr sz="2277" b="1" spc="43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2277" b="1" spc="24" dirty="0">
                <a:solidFill>
                  <a:srgbClr val="00AF50"/>
                </a:solidFill>
                <a:latin typeface="Arial"/>
                <a:cs typeface="Arial"/>
              </a:rPr>
              <a:t>300</a:t>
            </a:r>
            <a:endParaRPr sz="2277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048" marR="4819" defTabSz="867491">
              <a:lnSpc>
                <a:spcPts val="1233"/>
              </a:lnSpc>
              <a:spcBef>
                <a:spcPts val="66"/>
              </a:spcBef>
            </a:pPr>
            <a:r>
              <a:rPr sz="1138" spc="-24" dirty="0">
                <a:solidFill>
                  <a:srgbClr val="BEBEBE"/>
                </a:solidFill>
                <a:latin typeface="Microsoft Sans Serif"/>
                <a:cs typeface="Microsoft Sans Serif"/>
              </a:rPr>
              <a:t>Д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О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П</a:t>
            </a:r>
            <a:r>
              <a:rPr sz="1138" spc="81" dirty="0">
                <a:solidFill>
                  <a:srgbClr val="BEBEBE"/>
                </a:solidFill>
                <a:latin typeface="Microsoft Sans Serif"/>
                <a:cs typeface="Microsoft Sans Serif"/>
              </a:rPr>
              <a:t>О</a:t>
            </a:r>
            <a:r>
              <a:rPr sz="1138" spc="33" dirty="0">
                <a:solidFill>
                  <a:srgbClr val="BEBEBE"/>
                </a:solidFill>
                <a:latin typeface="Microsoft Sans Serif"/>
                <a:cs typeface="Microsoft Sans Serif"/>
              </a:rPr>
              <a:t>Л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НИ</a:t>
            </a:r>
            <a:r>
              <a:rPr sz="1138" spc="100" dirty="0">
                <a:solidFill>
                  <a:srgbClr val="BEBEBE"/>
                </a:solidFill>
                <a:latin typeface="Microsoft Sans Serif"/>
                <a:cs typeface="Microsoft Sans Serif"/>
              </a:rPr>
              <a:t>Т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Е</a:t>
            </a:r>
            <a:r>
              <a:rPr sz="1138" spc="33" dirty="0">
                <a:solidFill>
                  <a:srgbClr val="BEBEBE"/>
                </a:solidFill>
                <a:latin typeface="Microsoft Sans Serif"/>
                <a:cs typeface="Microsoft Sans Serif"/>
              </a:rPr>
              <a:t>Л</a:t>
            </a:r>
            <a:r>
              <a:rPr sz="1138" spc="90" dirty="0">
                <a:solidFill>
                  <a:srgbClr val="BEBEBE"/>
                </a:solidFill>
                <a:latin typeface="Microsoft Sans Serif"/>
                <a:cs typeface="Microsoft Sans Serif"/>
              </a:rPr>
              <a:t>Ь</a:t>
            </a:r>
            <a:r>
              <a:rPr sz="1138" spc="85" dirty="0">
                <a:solidFill>
                  <a:srgbClr val="BEBEBE"/>
                </a:solidFill>
                <a:latin typeface="Microsoft Sans Serif"/>
                <a:cs typeface="Microsoft Sans Serif"/>
              </a:rPr>
              <a:t>Н</a:t>
            </a:r>
            <a:r>
              <a:rPr sz="1138" spc="95" dirty="0">
                <a:solidFill>
                  <a:srgbClr val="BEBEBE"/>
                </a:solidFill>
                <a:latin typeface="Microsoft Sans Serif"/>
                <a:cs typeface="Microsoft Sans Serif"/>
              </a:rPr>
              <a:t>Ы</a:t>
            </a:r>
            <a:r>
              <a:rPr sz="1138" dirty="0">
                <a:solidFill>
                  <a:srgbClr val="BEBEBE"/>
                </a:solidFill>
                <a:latin typeface="Microsoft Sans Serif"/>
                <a:cs typeface="Microsoft Sans Serif"/>
              </a:rPr>
              <a:t>Х  </a:t>
            </a:r>
            <a:r>
              <a:rPr sz="1138" spc="47" dirty="0">
                <a:solidFill>
                  <a:srgbClr val="BEBEBE"/>
                </a:solidFill>
                <a:latin typeface="Microsoft Sans Serif"/>
                <a:cs typeface="Microsoft Sans Serif"/>
              </a:rPr>
              <a:t>ОФИСОВ</a:t>
            </a:r>
            <a:endParaRPr sz="1138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7113563" y="2104605"/>
            <a:ext cx="306640" cy="306640"/>
            <a:chOff x="7498080" y="2033016"/>
            <a:chExt cx="323215" cy="323215"/>
          </a:xfrm>
        </p:grpSpPr>
        <p:sp>
          <p:nvSpPr>
            <p:cNvPr id="11" name="object 11"/>
            <p:cNvSpPr/>
            <p:nvPr/>
          </p:nvSpPr>
          <p:spPr>
            <a:xfrm>
              <a:off x="7498080" y="2033016"/>
              <a:ext cx="323215" cy="323215"/>
            </a:xfrm>
            <a:custGeom>
              <a:avLst/>
              <a:gdLst/>
              <a:ahLst/>
              <a:cxnLst/>
              <a:rect l="l" t="t" r="r" b="b"/>
              <a:pathLst>
                <a:path w="323215" h="323214">
                  <a:moveTo>
                    <a:pt x="161544" y="0"/>
                  </a:moveTo>
                  <a:lnTo>
                    <a:pt x="118577" y="5766"/>
                  </a:lnTo>
                  <a:lnTo>
                    <a:pt x="79981" y="22041"/>
                  </a:lnTo>
                  <a:lnTo>
                    <a:pt x="47291" y="47291"/>
                  </a:lnTo>
                  <a:lnTo>
                    <a:pt x="22041" y="79981"/>
                  </a:lnTo>
                  <a:lnTo>
                    <a:pt x="5766" y="118577"/>
                  </a:lnTo>
                  <a:lnTo>
                    <a:pt x="0" y="161544"/>
                  </a:lnTo>
                  <a:lnTo>
                    <a:pt x="5766" y="204510"/>
                  </a:lnTo>
                  <a:lnTo>
                    <a:pt x="22041" y="243106"/>
                  </a:lnTo>
                  <a:lnTo>
                    <a:pt x="47291" y="275796"/>
                  </a:lnTo>
                  <a:lnTo>
                    <a:pt x="79981" y="301046"/>
                  </a:lnTo>
                  <a:lnTo>
                    <a:pt x="118577" y="317321"/>
                  </a:lnTo>
                  <a:lnTo>
                    <a:pt x="161544" y="323088"/>
                  </a:lnTo>
                  <a:lnTo>
                    <a:pt x="204510" y="317321"/>
                  </a:lnTo>
                  <a:lnTo>
                    <a:pt x="243106" y="301046"/>
                  </a:lnTo>
                  <a:lnTo>
                    <a:pt x="275796" y="275796"/>
                  </a:lnTo>
                  <a:lnTo>
                    <a:pt x="301046" y="243106"/>
                  </a:lnTo>
                  <a:lnTo>
                    <a:pt x="317321" y="204510"/>
                  </a:lnTo>
                  <a:lnTo>
                    <a:pt x="323088" y="161544"/>
                  </a:lnTo>
                  <a:lnTo>
                    <a:pt x="317321" y="118577"/>
                  </a:lnTo>
                  <a:lnTo>
                    <a:pt x="301046" y="79981"/>
                  </a:lnTo>
                  <a:lnTo>
                    <a:pt x="275796" y="47291"/>
                  </a:lnTo>
                  <a:lnTo>
                    <a:pt x="243106" y="22041"/>
                  </a:lnTo>
                  <a:lnTo>
                    <a:pt x="204510" y="5766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00AF50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48372" y="2083308"/>
              <a:ext cx="222503" cy="222503"/>
            </a:xfrm>
            <a:prstGeom prst="rect">
              <a:avLst/>
            </a:prstGeom>
          </p:spPr>
        </p:pic>
      </p:grpSp>
      <p:grpSp>
        <p:nvGrpSpPr>
          <p:cNvPr id="13" name="object 13"/>
          <p:cNvGrpSpPr/>
          <p:nvPr/>
        </p:nvGrpSpPr>
        <p:grpSpPr>
          <a:xfrm>
            <a:off x="7106333" y="2934521"/>
            <a:ext cx="308447" cy="306640"/>
            <a:chOff x="7490459" y="2907792"/>
            <a:chExt cx="325120" cy="323215"/>
          </a:xfrm>
        </p:grpSpPr>
        <p:sp>
          <p:nvSpPr>
            <p:cNvPr id="14" name="object 14"/>
            <p:cNvSpPr/>
            <p:nvPr/>
          </p:nvSpPr>
          <p:spPr>
            <a:xfrm>
              <a:off x="7490459" y="2907792"/>
              <a:ext cx="325120" cy="323215"/>
            </a:xfrm>
            <a:custGeom>
              <a:avLst/>
              <a:gdLst/>
              <a:ahLst/>
              <a:cxnLst/>
              <a:rect l="l" t="t" r="r" b="b"/>
              <a:pathLst>
                <a:path w="325120" h="323214">
                  <a:moveTo>
                    <a:pt x="162306" y="0"/>
                  </a:moveTo>
                  <a:lnTo>
                    <a:pt x="119150" y="5766"/>
                  </a:lnTo>
                  <a:lnTo>
                    <a:pt x="80376" y="22041"/>
                  </a:lnTo>
                  <a:lnTo>
                    <a:pt x="47529" y="47291"/>
                  </a:lnTo>
                  <a:lnTo>
                    <a:pt x="22154" y="79981"/>
                  </a:lnTo>
                  <a:lnTo>
                    <a:pt x="5796" y="118577"/>
                  </a:lnTo>
                  <a:lnTo>
                    <a:pt x="0" y="161544"/>
                  </a:lnTo>
                  <a:lnTo>
                    <a:pt x="5796" y="204510"/>
                  </a:lnTo>
                  <a:lnTo>
                    <a:pt x="22154" y="243106"/>
                  </a:lnTo>
                  <a:lnTo>
                    <a:pt x="47529" y="275796"/>
                  </a:lnTo>
                  <a:lnTo>
                    <a:pt x="80376" y="301046"/>
                  </a:lnTo>
                  <a:lnTo>
                    <a:pt x="119150" y="317321"/>
                  </a:lnTo>
                  <a:lnTo>
                    <a:pt x="162306" y="323088"/>
                  </a:lnTo>
                  <a:lnTo>
                    <a:pt x="205461" y="317321"/>
                  </a:lnTo>
                  <a:lnTo>
                    <a:pt x="244235" y="301046"/>
                  </a:lnTo>
                  <a:lnTo>
                    <a:pt x="277082" y="275796"/>
                  </a:lnTo>
                  <a:lnTo>
                    <a:pt x="302457" y="243106"/>
                  </a:lnTo>
                  <a:lnTo>
                    <a:pt x="318815" y="204510"/>
                  </a:lnTo>
                  <a:lnTo>
                    <a:pt x="324612" y="161544"/>
                  </a:lnTo>
                  <a:lnTo>
                    <a:pt x="318815" y="118577"/>
                  </a:lnTo>
                  <a:lnTo>
                    <a:pt x="302457" y="79981"/>
                  </a:lnTo>
                  <a:lnTo>
                    <a:pt x="277082" y="47291"/>
                  </a:lnTo>
                  <a:lnTo>
                    <a:pt x="244235" y="22041"/>
                  </a:lnTo>
                  <a:lnTo>
                    <a:pt x="205461" y="5766"/>
                  </a:lnTo>
                  <a:lnTo>
                    <a:pt x="162306" y="0"/>
                  </a:lnTo>
                  <a:close/>
                </a:path>
              </a:pathLst>
            </a:custGeom>
            <a:solidFill>
              <a:srgbClr val="00AF50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540751" y="2958084"/>
              <a:ext cx="222503" cy="222503"/>
            </a:xfrm>
            <a:prstGeom prst="rect">
              <a:avLst/>
            </a:prstGeom>
          </p:spPr>
        </p:pic>
      </p:grpSp>
      <p:grpSp>
        <p:nvGrpSpPr>
          <p:cNvPr id="16" name="object 16"/>
          <p:cNvGrpSpPr/>
          <p:nvPr/>
        </p:nvGrpSpPr>
        <p:grpSpPr>
          <a:xfrm>
            <a:off x="7113563" y="3749978"/>
            <a:ext cx="306640" cy="308447"/>
            <a:chOff x="7498080" y="3767328"/>
            <a:chExt cx="323215" cy="325120"/>
          </a:xfrm>
        </p:grpSpPr>
        <p:sp>
          <p:nvSpPr>
            <p:cNvPr id="17" name="object 17"/>
            <p:cNvSpPr/>
            <p:nvPr/>
          </p:nvSpPr>
          <p:spPr>
            <a:xfrm>
              <a:off x="7498080" y="3767328"/>
              <a:ext cx="323215" cy="325120"/>
            </a:xfrm>
            <a:custGeom>
              <a:avLst/>
              <a:gdLst/>
              <a:ahLst/>
              <a:cxnLst/>
              <a:rect l="l" t="t" r="r" b="b"/>
              <a:pathLst>
                <a:path w="323215" h="325120">
                  <a:moveTo>
                    <a:pt x="161544" y="0"/>
                  </a:moveTo>
                  <a:lnTo>
                    <a:pt x="118577" y="5796"/>
                  </a:lnTo>
                  <a:lnTo>
                    <a:pt x="79981" y="22154"/>
                  </a:lnTo>
                  <a:lnTo>
                    <a:pt x="47291" y="47529"/>
                  </a:lnTo>
                  <a:lnTo>
                    <a:pt x="22041" y="80376"/>
                  </a:lnTo>
                  <a:lnTo>
                    <a:pt x="5766" y="119150"/>
                  </a:lnTo>
                  <a:lnTo>
                    <a:pt x="0" y="162306"/>
                  </a:lnTo>
                  <a:lnTo>
                    <a:pt x="5766" y="205461"/>
                  </a:lnTo>
                  <a:lnTo>
                    <a:pt x="22041" y="244235"/>
                  </a:lnTo>
                  <a:lnTo>
                    <a:pt x="47291" y="277082"/>
                  </a:lnTo>
                  <a:lnTo>
                    <a:pt x="79981" y="302457"/>
                  </a:lnTo>
                  <a:lnTo>
                    <a:pt x="118577" y="318815"/>
                  </a:lnTo>
                  <a:lnTo>
                    <a:pt x="161544" y="324612"/>
                  </a:lnTo>
                  <a:lnTo>
                    <a:pt x="204510" y="318815"/>
                  </a:lnTo>
                  <a:lnTo>
                    <a:pt x="243106" y="302457"/>
                  </a:lnTo>
                  <a:lnTo>
                    <a:pt x="275796" y="277082"/>
                  </a:lnTo>
                  <a:lnTo>
                    <a:pt x="301046" y="244235"/>
                  </a:lnTo>
                  <a:lnTo>
                    <a:pt x="317321" y="205461"/>
                  </a:lnTo>
                  <a:lnTo>
                    <a:pt x="323088" y="162306"/>
                  </a:lnTo>
                  <a:lnTo>
                    <a:pt x="317321" y="119150"/>
                  </a:lnTo>
                  <a:lnTo>
                    <a:pt x="301046" y="80376"/>
                  </a:lnTo>
                  <a:lnTo>
                    <a:pt x="275796" y="47529"/>
                  </a:lnTo>
                  <a:lnTo>
                    <a:pt x="243106" y="22154"/>
                  </a:lnTo>
                  <a:lnTo>
                    <a:pt x="204510" y="5796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00AF50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48372" y="3817620"/>
              <a:ext cx="222503" cy="222504"/>
            </a:xfrm>
            <a:prstGeom prst="rect">
              <a:avLst/>
            </a:prstGeom>
          </p:spPr>
        </p:pic>
      </p:grpSp>
      <p:grpSp>
        <p:nvGrpSpPr>
          <p:cNvPr id="19" name="object 19"/>
          <p:cNvGrpSpPr/>
          <p:nvPr/>
        </p:nvGrpSpPr>
        <p:grpSpPr>
          <a:xfrm>
            <a:off x="7119347" y="4647848"/>
            <a:ext cx="306640" cy="308447"/>
            <a:chOff x="7504176" y="4713732"/>
            <a:chExt cx="323215" cy="325120"/>
          </a:xfrm>
        </p:grpSpPr>
        <p:sp>
          <p:nvSpPr>
            <p:cNvPr id="20" name="object 20"/>
            <p:cNvSpPr/>
            <p:nvPr/>
          </p:nvSpPr>
          <p:spPr>
            <a:xfrm>
              <a:off x="7504176" y="4713732"/>
              <a:ext cx="323215" cy="325120"/>
            </a:xfrm>
            <a:custGeom>
              <a:avLst/>
              <a:gdLst/>
              <a:ahLst/>
              <a:cxnLst/>
              <a:rect l="l" t="t" r="r" b="b"/>
              <a:pathLst>
                <a:path w="323215" h="325120">
                  <a:moveTo>
                    <a:pt x="161544" y="0"/>
                  </a:moveTo>
                  <a:lnTo>
                    <a:pt x="118577" y="5796"/>
                  </a:lnTo>
                  <a:lnTo>
                    <a:pt x="79981" y="22154"/>
                  </a:lnTo>
                  <a:lnTo>
                    <a:pt x="47291" y="47529"/>
                  </a:lnTo>
                  <a:lnTo>
                    <a:pt x="22041" y="80376"/>
                  </a:lnTo>
                  <a:lnTo>
                    <a:pt x="5766" y="119150"/>
                  </a:lnTo>
                  <a:lnTo>
                    <a:pt x="0" y="162306"/>
                  </a:lnTo>
                  <a:lnTo>
                    <a:pt x="5766" y="205461"/>
                  </a:lnTo>
                  <a:lnTo>
                    <a:pt x="22041" y="244235"/>
                  </a:lnTo>
                  <a:lnTo>
                    <a:pt x="47291" y="277082"/>
                  </a:lnTo>
                  <a:lnTo>
                    <a:pt x="79981" y="302457"/>
                  </a:lnTo>
                  <a:lnTo>
                    <a:pt x="118577" y="318815"/>
                  </a:lnTo>
                  <a:lnTo>
                    <a:pt x="161544" y="324612"/>
                  </a:lnTo>
                  <a:lnTo>
                    <a:pt x="204510" y="318815"/>
                  </a:lnTo>
                  <a:lnTo>
                    <a:pt x="243106" y="302457"/>
                  </a:lnTo>
                  <a:lnTo>
                    <a:pt x="275796" y="277082"/>
                  </a:lnTo>
                  <a:lnTo>
                    <a:pt x="301046" y="244235"/>
                  </a:lnTo>
                  <a:lnTo>
                    <a:pt x="317321" y="205461"/>
                  </a:lnTo>
                  <a:lnTo>
                    <a:pt x="323088" y="162306"/>
                  </a:lnTo>
                  <a:lnTo>
                    <a:pt x="317321" y="119150"/>
                  </a:lnTo>
                  <a:lnTo>
                    <a:pt x="301046" y="80376"/>
                  </a:lnTo>
                  <a:lnTo>
                    <a:pt x="275796" y="47529"/>
                  </a:lnTo>
                  <a:lnTo>
                    <a:pt x="243106" y="22154"/>
                  </a:lnTo>
                  <a:lnTo>
                    <a:pt x="204510" y="5796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00AF50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21" name="object 2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554468" y="4765548"/>
              <a:ext cx="222503" cy="222503"/>
            </a:xfrm>
            <a:prstGeom prst="rect">
              <a:avLst/>
            </a:prstGeom>
          </p:spPr>
        </p:pic>
      </p:grpSp>
      <p:sp>
        <p:nvSpPr>
          <p:cNvPr id="22" name="object 22"/>
          <p:cNvSpPr txBox="1"/>
          <p:nvPr/>
        </p:nvSpPr>
        <p:spPr>
          <a:xfrm>
            <a:off x="215238" y="1844112"/>
            <a:ext cx="738586" cy="435967"/>
          </a:xfrm>
          <a:prstGeom prst="rect">
            <a:avLst/>
          </a:prstGeom>
        </p:spPr>
        <p:txBody>
          <a:bodyPr vert="horz" wrap="square" lIns="0" tIns="12651" rIns="0" bIns="0" rtlCol="0">
            <a:spAutoFit/>
          </a:bodyPr>
          <a:lstStyle/>
          <a:p>
            <a:pPr marL="84339" defTabSz="867491">
              <a:lnSpc>
                <a:spcPts val="2263"/>
              </a:lnSpc>
              <a:spcBef>
                <a:spcPts val="100"/>
              </a:spcBef>
            </a:pPr>
            <a:r>
              <a:rPr sz="1897" b="1" spc="43" dirty="0">
                <a:solidFill>
                  <a:srgbClr val="FFFFFF"/>
                </a:solidFill>
                <a:latin typeface="Arial"/>
                <a:cs typeface="Arial"/>
              </a:rPr>
              <a:t>100%</a:t>
            </a:r>
            <a:endParaRPr sz="1897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048" defTabSz="867491">
              <a:lnSpc>
                <a:spcPts val="1010"/>
              </a:lnSpc>
            </a:pPr>
            <a:r>
              <a:rPr sz="854" spc="19" dirty="0">
                <a:solidFill>
                  <a:srgbClr val="FFFFFF"/>
                </a:solidFill>
                <a:latin typeface="Microsoft Sans Serif"/>
                <a:cs typeface="Microsoft Sans Serif"/>
              </a:rPr>
              <a:t>Акций</a:t>
            </a:r>
            <a:r>
              <a:rPr sz="854" spc="38" dirty="0">
                <a:solidFill>
                  <a:srgbClr val="FFFFFF"/>
                </a:solidFill>
                <a:latin typeface="Microsoft Sans Serif"/>
                <a:cs typeface="Microsoft Sans Serif"/>
              </a:rPr>
              <a:t> </a:t>
            </a:r>
            <a:r>
              <a:rPr sz="854" spc="19" dirty="0">
                <a:solidFill>
                  <a:srgbClr val="FFFFFF"/>
                </a:solidFill>
                <a:latin typeface="Microsoft Sans Serif"/>
                <a:cs typeface="Microsoft Sans Serif"/>
              </a:rPr>
              <a:t>Банка</a:t>
            </a:r>
            <a:endParaRPr sz="854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12825" y="1844497"/>
            <a:ext cx="2293473" cy="475114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marR="4819" indent="49398" defTabSz="867491">
              <a:lnSpc>
                <a:spcPct val="121500"/>
              </a:lnSpc>
              <a:spcBef>
                <a:spcPts val="95"/>
              </a:spcBef>
            </a:pPr>
            <a:r>
              <a:rPr sz="1233" b="1" spc="38" dirty="0">
                <a:solidFill>
                  <a:srgbClr val="00893D"/>
                </a:solidFill>
                <a:latin typeface="Arial"/>
                <a:cs typeface="Arial"/>
              </a:rPr>
              <a:t>ПРИНАДЛЕЖИТ </a:t>
            </a:r>
            <a:r>
              <a:rPr sz="1233" b="1" spc="43" dirty="0">
                <a:solidFill>
                  <a:srgbClr val="00893D"/>
                </a:solidFill>
                <a:latin typeface="Arial"/>
                <a:cs typeface="Arial"/>
              </a:rPr>
              <a:t> </a:t>
            </a:r>
            <a:r>
              <a:rPr sz="1233" b="1" spc="33" dirty="0">
                <a:solidFill>
                  <a:srgbClr val="00893D"/>
                </a:solidFill>
                <a:latin typeface="Arial"/>
                <a:cs typeface="Arial"/>
              </a:rPr>
              <a:t>РОССИЙСКОЙ</a:t>
            </a:r>
            <a:r>
              <a:rPr sz="1233" b="1" spc="90" dirty="0">
                <a:solidFill>
                  <a:srgbClr val="00893D"/>
                </a:solidFill>
                <a:latin typeface="Arial"/>
                <a:cs typeface="Arial"/>
              </a:rPr>
              <a:t> </a:t>
            </a:r>
            <a:r>
              <a:rPr sz="1233" b="1" spc="19" dirty="0">
                <a:solidFill>
                  <a:srgbClr val="00893D"/>
                </a:solidFill>
                <a:latin typeface="Arial"/>
                <a:cs typeface="Arial"/>
              </a:rPr>
              <a:t>ФЕДЕРАЦИИ</a:t>
            </a:r>
            <a:endParaRPr sz="1233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0" y="527186"/>
            <a:ext cx="85546" cy="547012"/>
          </a:xfrm>
          <a:custGeom>
            <a:avLst/>
            <a:gdLst/>
            <a:ahLst/>
            <a:cxnLst/>
            <a:rect l="l" t="t" r="r" b="b"/>
            <a:pathLst>
              <a:path w="90170" h="576580">
                <a:moveTo>
                  <a:pt x="89916" y="0"/>
                </a:moveTo>
                <a:lnTo>
                  <a:pt x="0" y="0"/>
                </a:lnTo>
                <a:lnTo>
                  <a:pt x="0" y="576072"/>
                </a:lnTo>
                <a:lnTo>
                  <a:pt x="89916" y="576072"/>
                </a:lnTo>
                <a:lnTo>
                  <a:pt x="89916" y="0"/>
                </a:lnTo>
                <a:close/>
              </a:path>
            </a:pathLst>
          </a:custGeom>
          <a:solidFill>
            <a:srgbClr val="FFD104"/>
          </a:solidFill>
        </p:spPr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946400" y="6233938"/>
            <a:ext cx="4700807" cy="143613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spcBef>
                <a:spcPts val="95"/>
              </a:spcBef>
            </a:pPr>
            <a:r>
              <a:rPr sz="854" b="1" spc="-5" dirty="0">
                <a:solidFill>
                  <a:prstClr val="black"/>
                </a:solidFill>
                <a:latin typeface="Arial"/>
                <a:cs typeface="Arial"/>
              </a:rPr>
              <a:t>*</a:t>
            </a:r>
            <a:r>
              <a:rPr sz="854" b="1" spc="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54" spc="-9" dirty="0">
                <a:solidFill>
                  <a:prstClr val="black"/>
                </a:solidFill>
                <a:latin typeface="Microsoft Sans Serif"/>
                <a:cs typeface="Microsoft Sans Serif"/>
              </a:rPr>
              <a:t>кредитный</a:t>
            </a:r>
            <a:r>
              <a:rPr sz="854" spc="24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5" dirty="0">
                <a:solidFill>
                  <a:prstClr val="black"/>
                </a:solidFill>
                <a:latin typeface="Microsoft Sans Serif"/>
                <a:cs typeface="Microsoft Sans Serif"/>
              </a:rPr>
              <a:t>рейтинг</a:t>
            </a:r>
            <a:r>
              <a:rPr sz="854" spc="9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9" dirty="0">
                <a:solidFill>
                  <a:prstClr val="black"/>
                </a:solidFill>
                <a:latin typeface="Microsoft Sans Serif"/>
                <a:cs typeface="Microsoft Sans Serif"/>
              </a:rPr>
              <a:t>по</a:t>
            </a:r>
            <a:r>
              <a:rPr sz="854" spc="24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9" dirty="0">
                <a:solidFill>
                  <a:prstClr val="black"/>
                </a:solidFill>
                <a:latin typeface="Microsoft Sans Serif"/>
                <a:cs typeface="Microsoft Sans Serif"/>
              </a:rPr>
              <a:t>данным</a:t>
            </a:r>
            <a:r>
              <a:rPr sz="854" spc="28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9" dirty="0">
                <a:solidFill>
                  <a:prstClr val="black"/>
                </a:solidFill>
                <a:latin typeface="Microsoft Sans Serif"/>
                <a:cs typeface="Microsoft Sans Serif"/>
              </a:rPr>
              <a:t>Аналитического</a:t>
            </a:r>
            <a:r>
              <a:rPr sz="854" spc="24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14" dirty="0">
                <a:solidFill>
                  <a:prstClr val="black"/>
                </a:solidFill>
                <a:latin typeface="Microsoft Sans Serif"/>
                <a:cs typeface="Microsoft Sans Serif"/>
              </a:rPr>
              <a:t>Кредитного</a:t>
            </a:r>
            <a:r>
              <a:rPr sz="854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9" dirty="0">
                <a:solidFill>
                  <a:prstClr val="black"/>
                </a:solidFill>
                <a:latin typeface="Microsoft Sans Serif"/>
                <a:cs typeface="Microsoft Sans Serif"/>
              </a:rPr>
              <a:t>Рейтингового</a:t>
            </a:r>
            <a:r>
              <a:rPr sz="854" spc="14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5" dirty="0">
                <a:solidFill>
                  <a:prstClr val="black"/>
                </a:solidFill>
                <a:latin typeface="Microsoft Sans Serif"/>
                <a:cs typeface="Microsoft Sans Serif"/>
              </a:rPr>
              <a:t>Агентства</a:t>
            </a:r>
            <a:r>
              <a:rPr sz="854" spc="28" dirty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854" spc="-14" dirty="0">
                <a:solidFill>
                  <a:prstClr val="black"/>
                </a:solidFill>
                <a:latin typeface="Microsoft Sans Serif"/>
                <a:cs typeface="Microsoft Sans Serif"/>
              </a:rPr>
              <a:t>(АКРА)</a:t>
            </a:r>
            <a:endParaRPr sz="854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052093" y="2747524"/>
            <a:ext cx="1407290" cy="201290"/>
          </a:xfrm>
          <a:prstGeom prst="rect">
            <a:avLst/>
          </a:prstGeom>
        </p:spPr>
        <p:txBody>
          <a:bodyPr vert="horz" wrap="square" lIns="0" tIns="11446" rIns="0" bIns="0" rtlCol="0">
            <a:spAutoFit/>
          </a:bodyPr>
          <a:lstStyle/>
          <a:p>
            <a:pPr marL="12048" defTabSz="867491">
              <a:spcBef>
                <a:spcPts val="90"/>
              </a:spcBef>
            </a:pPr>
            <a:r>
              <a:rPr sz="1233" b="1" spc="33" dirty="0">
                <a:solidFill>
                  <a:srgbClr val="00893D"/>
                </a:solidFill>
                <a:latin typeface="Arial"/>
                <a:cs typeface="Arial"/>
              </a:rPr>
              <a:t>РЕЙТИНГ</a:t>
            </a:r>
            <a:r>
              <a:rPr sz="1233" b="1" spc="66" dirty="0">
                <a:solidFill>
                  <a:srgbClr val="00893D"/>
                </a:solidFill>
                <a:latin typeface="Arial"/>
                <a:cs typeface="Arial"/>
              </a:rPr>
              <a:t> </a:t>
            </a:r>
            <a:r>
              <a:rPr sz="1233" b="1" spc="14" dirty="0">
                <a:solidFill>
                  <a:srgbClr val="00893D"/>
                </a:solidFill>
                <a:latin typeface="Arial"/>
                <a:cs typeface="Arial"/>
              </a:rPr>
              <a:t>БАНКА</a:t>
            </a:r>
            <a:endParaRPr sz="1233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0" y="2590408"/>
            <a:ext cx="980766" cy="490383"/>
          </a:xfrm>
          <a:custGeom>
            <a:avLst/>
            <a:gdLst/>
            <a:ahLst/>
            <a:cxnLst/>
            <a:rect l="l" t="t" r="r" b="b"/>
            <a:pathLst>
              <a:path w="1033780" h="516889">
                <a:moveTo>
                  <a:pt x="1033271" y="0"/>
                </a:moveTo>
                <a:lnTo>
                  <a:pt x="0" y="0"/>
                </a:lnTo>
                <a:lnTo>
                  <a:pt x="0" y="516636"/>
                </a:lnTo>
                <a:lnTo>
                  <a:pt x="904112" y="516636"/>
                </a:lnTo>
                <a:lnTo>
                  <a:pt x="1033271" y="0"/>
                </a:lnTo>
                <a:close/>
              </a:path>
            </a:pathLst>
          </a:custGeom>
          <a:solidFill>
            <a:srgbClr val="00893D"/>
          </a:solidFill>
        </p:spPr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7809" y="2706799"/>
            <a:ext cx="768708" cy="231137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spcBef>
                <a:spcPts val="95"/>
              </a:spcBef>
            </a:pPr>
            <a:r>
              <a:rPr sz="1423" b="1" spc="5" dirty="0">
                <a:solidFill>
                  <a:srgbClr val="FFFFFF"/>
                </a:solidFill>
                <a:latin typeface="Arial"/>
                <a:cs typeface="Arial"/>
              </a:rPr>
              <a:t>А</a:t>
            </a:r>
            <a:r>
              <a:rPr sz="1423" b="1" spc="38" dirty="0">
                <a:solidFill>
                  <a:srgbClr val="FFFFFF"/>
                </a:solidFill>
                <a:latin typeface="Arial"/>
                <a:cs typeface="Arial"/>
              </a:rPr>
              <a:t>А</a:t>
            </a:r>
            <a:r>
              <a:rPr sz="1423" b="1" spc="52" dirty="0">
                <a:solidFill>
                  <a:srgbClr val="FFFFFF"/>
                </a:solidFill>
                <a:latin typeface="Arial"/>
                <a:cs typeface="Arial"/>
              </a:rPr>
              <a:t>(</a:t>
            </a:r>
            <a:r>
              <a:rPr sz="1423" b="1" spc="47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423" b="1" spc="38" dirty="0">
                <a:solidFill>
                  <a:srgbClr val="FFFFFF"/>
                </a:solidFill>
                <a:latin typeface="Arial"/>
                <a:cs typeface="Arial"/>
              </a:rPr>
              <a:t>U</a:t>
            </a:r>
            <a:r>
              <a:rPr sz="1423" b="1" spc="47" dirty="0">
                <a:solidFill>
                  <a:srgbClr val="FFFFFF"/>
                </a:solidFill>
                <a:latin typeface="Arial"/>
                <a:cs typeface="Arial"/>
              </a:rPr>
              <a:t>)</a:t>
            </a:r>
            <a:r>
              <a:rPr sz="1423" b="1" spc="-5" dirty="0">
                <a:solidFill>
                  <a:srgbClr val="FFFFFF"/>
                </a:solidFill>
                <a:latin typeface="Arial"/>
                <a:cs typeface="Arial"/>
              </a:rPr>
              <a:t>*</a:t>
            </a:r>
            <a:endParaRPr sz="1423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037635" y="3584670"/>
            <a:ext cx="595207" cy="245148"/>
          </a:xfrm>
          <a:prstGeom prst="rect">
            <a:avLst/>
          </a:prstGeom>
        </p:spPr>
        <p:txBody>
          <a:bodyPr vert="horz" wrap="square" lIns="0" tIns="11446" rIns="0" bIns="0" rtlCol="0">
            <a:spAutoFit/>
          </a:bodyPr>
          <a:lstStyle/>
          <a:p>
            <a:pPr marL="12048" defTabSz="867491">
              <a:spcBef>
                <a:spcPts val="90"/>
              </a:spcBef>
            </a:pPr>
            <a:r>
              <a:rPr sz="1518" b="1" spc="-43" dirty="0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518" b="1" spc="-14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sz="1518" b="1" dirty="0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sz="1518" b="1" spc="-9" dirty="0">
                <a:solidFill>
                  <a:srgbClr val="404040"/>
                </a:solidFill>
                <a:latin typeface="Arial"/>
                <a:cs typeface="Arial"/>
              </a:rPr>
              <a:t>-</a:t>
            </a:r>
            <a:r>
              <a:rPr sz="1518" b="1" spc="-5" dirty="0">
                <a:solidFill>
                  <a:srgbClr val="404040"/>
                </a:solidFill>
                <a:latin typeface="Arial"/>
                <a:cs typeface="Arial"/>
              </a:rPr>
              <a:t>3</a:t>
            </a:r>
            <a:endParaRPr sz="151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0" y="3580814"/>
            <a:ext cx="915703" cy="280735"/>
            <a:chOff x="0" y="3589020"/>
            <a:chExt cx="965200" cy="295910"/>
          </a:xfrm>
        </p:grpSpPr>
        <p:sp>
          <p:nvSpPr>
            <p:cNvPr id="31" name="object 31"/>
            <p:cNvSpPr/>
            <p:nvPr/>
          </p:nvSpPr>
          <p:spPr>
            <a:xfrm>
              <a:off x="0" y="3727704"/>
              <a:ext cx="814069" cy="20320"/>
            </a:xfrm>
            <a:custGeom>
              <a:avLst/>
              <a:gdLst/>
              <a:ahLst/>
              <a:cxnLst/>
              <a:rect l="l" t="t" r="r" b="b"/>
              <a:pathLst>
                <a:path w="814069" h="20320">
                  <a:moveTo>
                    <a:pt x="813714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813714" y="19812"/>
                  </a:lnTo>
                  <a:lnTo>
                    <a:pt x="813714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669036" y="3589020"/>
              <a:ext cx="295910" cy="295910"/>
            </a:xfrm>
            <a:custGeom>
              <a:avLst/>
              <a:gdLst/>
              <a:ahLst/>
              <a:cxnLst/>
              <a:rect l="l" t="t" r="r" b="b"/>
              <a:pathLst>
                <a:path w="295909" h="295910">
                  <a:moveTo>
                    <a:pt x="147827" y="0"/>
                  </a:moveTo>
                  <a:lnTo>
                    <a:pt x="101100" y="7534"/>
                  </a:lnTo>
                  <a:lnTo>
                    <a:pt x="60520" y="28517"/>
                  </a:lnTo>
                  <a:lnTo>
                    <a:pt x="28520" y="60514"/>
                  </a:lnTo>
                  <a:lnTo>
                    <a:pt x="7535" y="101096"/>
                  </a:lnTo>
                  <a:lnTo>
                    <a:pt x="0" y="147827"/>
                  </a:lnTo>
                  <a:lnTo>
                    <a:pt x="7535" y="194559"/>
                  </a:lnTo>
                  <a:lnTo>
                    <a:pt x="28520" y="235141"/>
                  </a:lnTo>
                  <a:lnTo>
                    <a:pt x="60520" y="267138"/>
                  </a:lnTo>
                  <a:lnTo>
                    <a:pt x="101100" y="288121"/>
                  </a:lnTo>
                  <a:lnTo>
                    <a:pt x="147827" y="295655"/>
                  </a:lnTo>
                  <a:lnTo>
                    <a:pt x="194555" y="288121"/>
                  </a:lnTo>
                  <a:lnTo>
                    <a:pt x="235135" y="267138"/>
                  </a:lnTo>
                  <a:lnTo>
                    <a:pt x="267135" y="235141"/>
                  </a:lnTo>
                  <a:lnTo>
                    <a:pt x="288120" y="194559"/>
                  </a:lnTo>
                  <a:lnTo>
                    <a:pt x="295655" y="147827"/>
                  </a:lnTo>
                  <a:lnTo>
                    <a:pt x="288120" y="101096"/>
                  </a:lnTo>
                  <a:lnTo>
                    <a:pt x="267135" y="60514"/>
                  </a:lnTo>
                  <a:lnTo>
                    <a:pt x="235135" y="28517"/>
                  </a:lnTo>
                  <a:lnTo>
                    <a:pt x="194555" y="753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7E7E7E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3" name="object 3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16280" y="3636264"/>
              <a:ext cx="201167" cy="201168"/>
            </a:xfrm>
            <a:prstGeom prst="rect">
              <a:avLst/>
            </a:prstGeom>
          </p:spPr>
        </p:pic>
      </p:grpSp>
      <p:sp>
        <p:nvSpPr>
          <p:cNvPr id="34" name="object 34"/>
          <p:cNvSpPr txBox="1"/>
          <p:nvPr/>
        </p:nvSpPr>
        <p:spPr>
          <a:xfrm>
            <a:off x="1811404" y="3527076"/>
            <a:ext cx="1198847" cy="320551"/>
          </a:xfrm>
          <a:prstGeom prst="rect">
            <a:avLst/>
          </a:prstGeom>
        </p:spPr>
        <p:txBody>
          <a:bodyPr vert="horz" wrap="square" lIns="0" tIns="12651" rIns="0" bIns="0" rtlCol="0">
            <a:spAutoFit/>
          </a:bodyPr>
          <a:lstStyle/>
          <a:p>
            <a:pPr marL="12048" defTabSz="867491">
              <a:lnSpc>
                <a:spcPts val="1229"/>
              </a:lnSpc>
              <a:spcBef>
                <a:spcPts val="100"/>
              </a:spcBef>
            </a:pPr>
            <a:r>
              <a:rPr sz="1044" spc="-9" dirty="0">
                <a:solidFill>
                  <a:srgbClr val="252525"/>
                </a:solidFill>
                <a:latin typeface="Microsoft Sans Serif"/>
                <a:cs typeface="Microsoft Sans Serif"/>
              </a:rPr>
              <a:t>по</a:t>
            </a:r>
            <a:r>
              <a:rPr sz="1044" spc="-33" dirty="0">
                <a:solidFill>
                  <a:srgbClr val="252525"/>
                </a:solidFill>
                <a:latin typeface="Microsoft Sans Serif"/>
                <a:cs typeface="Microsoft Sans Serif"/>
              </a:rPr>
              <a:t> </a:t>
            </a:r>
            <a:r>
              <a:rPr sz="1044" spc="-14" dirty="0">
                <a:solidFill>
                  <a:srgbClr val="252525"/>
                </a:solidFill>
                <a:latin typeface="Microsoft Sans Serif"/>
                <a:cs typeface="Microsoft Sans Serif"/>
              </a:rPr>
              <a:t>размеру</a:t>
            </a:r>
            <a:endParaRPr sz="1044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048" defTabSz="867491">
              <a:lnSpc>
                <a:spcPts val="1229"/>
              </a:lnSpc>
            </a:pP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филиальной</a:t>
            </a:r>
            <a:r>
              <a:rPr sz="1044" b="1" spc="-66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сети</a:t>
            </a:r>
            <a:endParaRPr sz="1044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037635" y="4079390"/>
            <a:ext cx="595207" cy="245148"/>
          </a:xfrm>
          <a:prstGeom prst="rect">
            <a:avLst/>
          </a:prstGeom>
        </p:spPr>
        <p:txBody>
          <a:bodyPr vert="horz" wrap="square" lIns="0" tIns="11446" rIns="0" bIns="0" rtlCol="0">
            <a:spAutoFit/>
          </a:bodyPr>
          <a:lstStyle/>
          <a:p>
            <a:pPr marL="12048" defTabSz="867491">
              <a:spcBef>
                <a:spcPts val="90"/>
              </a:spcBef>
            </a:pPr>
            <a:r>
              <a:rPr sz="1518" b="1" spc="-43" dirty="0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518" b="1" spc="-14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sz="1518" b="1" dirty="0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sz="1518" b="1" spc="-9" dirty="0">
                <a:solidFill>
                  <a:srgbClr val="404040"/>
                </a:solidFill>
                <a:latin typeface="Arial"/>
                <a:cs typeface="Arial"/>
              </a:rPr>
              <a:t>-</a:t>
            </a:r>
            <a:r>
              <a:rPr sz="1518" b="1" spc="-5" dirty="0">
                <a:solidFill>
                  <a:srgbClr val="404040"/>
                </a:solidFill>
                <a:latin typeface="Arial"/>
                <a:cs typeface="Arial"/>
              </a:rPr>
              <a:t>5</a:t>
            </a:r>
            <a:endParaRPr sz="151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0" y="4076739"/>
            <a:ext cx="915703" cy="279530"/>
            <a:chOff x="0" y="4111752"/>
            <a:chExt cx="965200" cy="294640"/>
          </a:xfrm>
        </p:grpSpPr>
        <p:sp>
          <p:nvSpPr>
            <p:cNvPr id="37" name="object 37"/>
            <p:cNvSpPr/>
            <p:nvPr/>
          </p:nvSpPr>
          <p:spPr>
            <a:xfrm>
              <a:off x="0" y="4248912"/>
              <a:ext cx="814069" cy="20320"/>
            </a:xfrm>
            <a:custGeom>
              <a:avLst/>
              <a:gdLst/>
              <a:ahLst/>
              <a:cxnLst/>
              <a:rect l="l" t="t" r="r" b="b"/>
              <a:pathLst>
                <a:path w="814069" h="20320">
                  <a:moveTo>
                    <a:pt x="813714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813714" y="19812"/>
                  </a:lnTo>
                  <a:lnTo>
                    <a:pt x="813714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669036" y="4111752"/>
              <a:ext cx="295910" cy="294640"/>
            </a:xfrm>
            <a:custGeom>
              <a:avLst/>
              <a:gdLst/>
              <a:ahLst/>
              <a:cxnLst/>
              <a:rect l="l" t="t" r="r" b="b"/>
              <a:pathLst>
                <a:path w="295909" h="294639">
                  <a:moveTo>
                    <a:pt x="147827" y="0"/>
                  </a:moveTo>
                  <a:lnTo>
                    <a:pt x="101100" y="7491"/>
                  </a:lnTo>
                  <a:lnTo>
                    <a:pt x="60520" y="28358"/>
                  </a:lnTo>
                  <a:lnTo>
                    <a:pt x="28520" y="60185"/>
                  </a:lnTo>
                  <a:lnTo>
                    <a:pt x="7535" y="100559"/>
                  </a:lnTo>
                  <a:lnTo>
                    <a:pt x="0" y="147066"/>
                  </a:lnTo>
                  <a:lnTo>
                    <a:pt x="7535" y="193572"/>
                  </a:lnTo>
                  <a:lnTo>
                    <a:pt x="28520" y="233946"/>
                  </a:lnTo>
                  <a:lnTo>
                    <a:pt x="60520" y="265773"/>
                  </a:lnTo>
                  <a:lnTo>
                    <a:pt x="101100" y="286640"/>
                  </a:lnTo>
                  <a:lnTo>
                    <a:pt x="147827" y="294131"/>
                  </a:lnTo>
                  <a:lnTo>
                    <a:pt x="194555" y="286640"/>
                  </a:lnTo>
                  <a:lnTo>
                    <a:pt x="235135" y="265773"/>
                  </a:lnTo>
                  <a:lnTo>
                    <a:pt x="267135" y="233946"/>
                  </a:lnTo>
                  <a:lnTo>
                    <a:pt x="288120" y="193572"/>
                  </a:lnTo>
                  <a:lnTo>
                    <a:pt x="295655" y="147066"/>
                  </a:lnTo>
                  <a:lnTo>
                    <a:pt x="288120" y="100559"/>
                  </a:lnTo>
                  <a:lnTo>
                    <a:pt x="267135" y="60185"/>
                  </a:lnTo>
                  <a:lnTo>
                    <a:pt x="235135" y="28358"/>
                  </a:lnTo>
                  <a:lnTo>
                    <a:pt x="194555" y="749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7E7E7E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39" name="object 3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6280" y="4157472"/>
              <a:ext cx="201167" cy="202691"/>
            </a:xfrm>
            <a:prstGeom prst="rect">
              <a:avLst/>
            </a:prstGeom>
          </p:spPr>
        </p:pic>
      </p:grpSp>
      <p:sp>
        <p:nvSpPr>
          <p:cNvPr id="40" name="object 40"/>
          <p:cNvSpPr txBox="1"/>
          <p:nvPr/>
        </p:nvSpPr>
        <p:spPr>
          <a:xfrm>
            <a:off x="1811404" y="4021917"/>
            <a:ext cx="1689833" cy="330284"/>
          </a:xfrm>
          <a:prstGeom prst="rect">
            <a:avLst/>
          </a:prstGeom>
        </p:spPr>
        <p:txBody>
          <a:bodyPr vert="horz" wrap="square" lIns="0" tIns="22290" rIns="0" bIns="0" rtlCol="0">
            <a:spAutoFit/>
          </a:bodyPr>
          <a:lstStyle/>
          <a:p>
            <a:pPr marL="12048" marR="4819" defTabSz="867491">
              <a:lnSpc>
                <a:spcPts val="1205"/>
              </a:lnSpc>
              <a:spcBef>
                <a:spcPts val="176"/>
              </a:spcBef>
            </a:pPr>
            <a:r>
              <a:rPr sz="1044" spc="-9" dirty="0">
                <a:solidFill>
                  <a:srgbClr val="0D0D0D"/>
                </a:solidFill>
                <a:latin typeface="Microsoft Sans Serif"/>
                <a:cs typeface="Microsoft Sans Serif"/>
              </a:rPr>
              <a:t>по </a:t>
            </a:r>
            <a:r>
              <a:rPr sz="1044" spc="-5" dirty="0">
                <a:solidFill>
                  <a:srgbClr val="0D0D0D"/>
                </a:solidFill>
                <a:latin typeface="Microsoft Sans Serif"/>
                <a:cs typeface="Microsoft Sans Serif"/>
              </a:rPr>
              <a:t>объему 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привлеченных </a:t>
            </a:r>
            <a:r>
              <a:rPr sz="1044" b="1" spc="-280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средств</a:t>
            </a:r>
            <a:r>
              <a:rPr sz="1044" b="1" spc="-19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044" spc="-14" dirty="0">
                <a:solidFill>
                  <a:srgbClr val="0D0D0D"/>
                </a:solidFill>
                <a:latin typeface="Microsoft Sans Serif"/>
                <a:cs typeface="Microsoft Sans Serif"/>
              </a:rPr>
              <a:t>физических</a:t>
            </a:r>
            <a:r>
              <a:rPr sz="1044" spc="-19" dirty="0">
                <a:solidFill>
                  <a:srgbClr val="0D0D0D"/>
                </a:solidFill>
                <a:latin typeface="Microsoft Sans Serif"/>
                <a:cs typeface="Microsoft Sans Serif"/>
              </a:rPr>
              <a:t> </a:t>
            </a:r>
            <a:r>
              <a:rPr sz="1044" dirty="0">
                <a:solidFill>
                  <a:srgbClr val="0D0D0D"/>
                </a:solidFill>
                <a:latin typeface="Microsoft Sans Serif"/>
                <a:cs typeface="Microsoft Sans Serif"/>
              </a:rPr>
              <a:t>лиц</a:t>
            </a:r>
            <a:endParaRPr sz="1044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037635" y="4585798"/>
            <a:ext cx="595207" cy="245148"/>
          </a:xfrm>
          <a:prstGeom prst="rect">
            <a:avLst/>
          </a:prstGeom>
        </p:spPr>
        <p:txBody>
          <a:bodyPr vert="horz" wrap="square" lIns="0" tIns="11446" rIns="0" bIns="0" rtlCol="0">
            <a:spAutoFit/>
          </a:bodyPr>
          <a:lstStyle/>
          <a:p>
            <a:pPr marL="12048" defTabSz="867491">
              <a:spcBef>
                <a:spcPts val="90"/>
              </a:spcBef>
            </a:pPr>
            <a:r>
              <a:rPr sz="1518" b="1" spc="-43" dirty="0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518" b="1" spc="-14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sz="1518" b="1" dirty="0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sz="1518" b="1" spc="-9" dirty="0">
                <a:solidFill>
                  <a:srgbClr val="404040"/>
                </a:solidFill>
                <a:latin typeface="Arial"/>
                <a:cs typeface="Arial"/>
              </a:rPr>
              <a:t>-</a:t>
            </a:r>
            <a:r>
              <a:rPr sz="1518" b="1" spc="-5" dirty="0">
                <a:solidFill>
                  <a:srgbClr val="404040"/>
                </a:solidFill>
                <a:latin typeface="Arial"/>
                <a:cs typeface="Arial"/>
              </a:rPr>
              <a:t>5</a:t>
            </a:r>
            <a:endParaRPr sz="151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0" y="4582785"/>
            <a:ext cx="915703" cy="279530"/>
            <a:chOff x="0" y="4645152"/>
            <a:chExt cx="965200" cy="294640"/>
          </a:xfrm>
        </p:grpSpPr>
        <p:sp>
          <p:nvSpPr>
            <p:cNvPr id="43" name="object 43"/>
            <p:cNvSpPr/>
            <p:nvPr/>
          </p:nvSpPr>
          <p:spPr>
            <a:xfrm>
              <a:off x="0" y="4782312"/>
              <a:ext cx="814069" cy="20320"/>
            </a:xfrm>
            <a:custGeom>
              <a:avLst/>
              <a:gdLst/>
              <a:ahLst/>
              <a:cxnLst/>
              <a:rect l="l" t="t" r="r" b="b"/>
              <a:pathLst>
                <a:path w="814069" h="20320">
                  <a:moveTo>
                    <a:pt x="813714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813714" y="19812"/>
                  </a:lnTo>
                  <a:lnTo>
                    <a:pt x="813714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669036" y="4645152"/>
              <a:ext cx="295910" cy="294640"/>
            </a:xfrm>
            <a:custGeom>
              <a:avLst/>
              <a:gdLst/>
              <a:ahLst/>
              <a:cxnLst/>
              <a:rect l="l" t="t" r="r" b="b"/>
              <a:pathLst>
                <a:path w="295909" h="294639">
                  <a:moveTo>
                    <a:pt x="147827" y="0"/>
                  </a:moveTo>
                  <a:lnTo>
                    <a:pt x="101100" y="7491"/>
                  </a:lnTo>
                  <a:lnTo>
                    <a:pt x="60520" y="28358"/>
                  </a:lnTo>
                  <a:lnTo>
                    <a:pt x="28520" y="60185"/>
                  </a:lnTo>
                  <a:lnTo>
                    <a:pt x="7535" y="100559"/>
                  </a:lnTo>
                  <a:lnTo>
                    <a:pt x="0" y="147066"/>
                  </a:lnTo>
                  <a:lnTo>
                    <a:pt x="7535" y="193572"/>
                  </a:lnTo>
                  <a:lnTo>
                    <a:pt x="28520" y="233946"/>
                  </a:lnTo>
                  <a:lnTo>
                    <a:pt x="60520" y="265773"/>
                  </a:lnTo>
                  <a:lnTo>
                    <a:pt x="101100" y="286640"/>
                  </a:lnTo>
                  <a:lnTo>
                    <a:pt x="147827" y="294131"/>
                  </a:lnTo>
                  <a:lnTo>
                    <a:pt x="194555" y="286640"/>
                  </a:lnTo>
                  <a:lnTo>
                    <a:pt x="235135" y="265773"/>
                  </a:lnTo>
                  <a:lnTo>
                    <a:pt x="267135" y="233946"/>
                  </a:lnTo>
                  <a:lnTo>
                    <a:pt x="288120" y="193572"/>
                  </a:lnTo>
                  <a:lnTo>
                    <a:pt x="295655" y="147066"/>
                  </a:lnTo>
                  <a:lnTo>
                    <a:pt x="288120" y="100559"/>
                  </a:lnTo>
                  <a:lnTo>
                    <a:pt x="267135" y="60185"/>
                  </a:lnTo>
                  <a:lnTo>
                    <a:pt x="235135" y="28358"/>
                  </a:lnTo>
                  <a:lnTo>
                    <a:pt x="194555" y="749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7E7E7E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45" name="object 4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6280" y="4690872"/>
              <a:ext cx="201167" cy="202691"/>
            </a:xfrm>
            <a:prstGeom prst="rect">
              <a:avLst/>
            </a:prstGeom>
          </p:spPr>
        </p:pic>
      </p:grpSp>
      <p:sp>
        <p:nvSpPr>
          <p:cNvPr id="46" name="object 46"/>
          <p:cNvSpPr txBox="1"/>
          <p:nvPr/>
        </p:nvSpPr>
        <p:spPr>
          <a:xfrm>
            <a:off x="1811403" y="4528205"/>
            <a:ext cx="1501270" cy="319943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lnSpc>
                <a:spcPts val="1229"/>
              </a:lnSpc>
              <a:spcBef>
                <a:spcPts val="95"/>
              </a:spcBef>
            </a:pPr>
            <a:r>
              <a:rPr sz="1044" spc="-9" dirty="0">
                <a:solidFill>
                  <a:srgbClr val="0D0D0D"/>
                </a:solidFill>
                <a:latin typeface="Microsoft Sans Serif"/>
                <a:cs typeface="Microsoft Sans Serif"/>
              </a:rPr>
              <a:t>по</a:t>
            </a:r>
            <a:r>
              <a:rPr sz="1044" spc="-14" dirty="0">
                <a:solidFill>
                  <a:srgbClr val="0D0D0D"/>
                </a:solidFill>
                <a:latin typeface="Microsoft Sans Serif"/>
                <a:cs typeface="Microsoft Sans Serif"/>
              </a:rPr>
              <a:t> </a:t>
            </a:r>
            <a:r>
              <a:rPr sz="1044" spc="-9" dirty="0">
                <a:solidFill>
                  <a:srgbClr val="0D0D0D"/>
                </a:solidFill>
                <a:latin typeface="Microsoft Sans Serif"/>
                <a:cs typeface="Microsoft Sans Serif"/>
              </a:rPr>
              <a:t>объемам</a:t>
            </a:r>
            <a:r>
              <a:rPr sz="1044" spc="-14" dirty="0">
                <a:solidFill>
                  <a:srgbClr val="0D0D0D"/>
                </a:solidFill>
                <a:latin typeface="Microsoft Sans Serif"/>
                <a:cs typeface="Microsoft Sans Serif"/>
              </a:rPr>
              <a:t> розничного</a:t>
            </a:r>
            <a:endParaRPr sz="1044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048" defTabSz="867491">
              <a:lnSpc>
                <a:spcPts val="1229"/>
              </a:lnSpc>
            </a:pP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кредитного</a:t>
            </a:r>
            <a:r>
              <a:rPr sz="1044" b="1" spc="-28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портфеля</a:t>
            </a:r>
            <a:endParaRPr sz="1044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037635" y="5065216"/>
            <a:ext cx="595207" cy="245148"/>
          </a:xfrm>
          <a:prstGeom prst="rect">
            <a:avLst/>
          </a:prstGeom>
        </p:spPr>
        <p:txBody>
          <a:bodyPr vert="horz" wrap="square" lIns="0" tIns="11446" rIns="0" bIns="0" rtlCol="0">
            <a:spAutoFit/>
          </a:bodyPr>
          <a:lstStyle/>
          <a:p>
            <a:pPr marL="12048" defTabSz="867491">
              <a:spcBef>
                <a:spcPts val="90"/>
              </a:spcBef>
            </a:pPr>
            <a:r>
              <a:rPr sz="1518" b="1" spc="-43" dirty="0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518" b="1" spc="-14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sz="1518" b="1" dirty="0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sz="1518" b="1" spc="-9" dirty="0">
                <a:solidFill>
                  <a:srgbClr val="404040"/>
                </a:solidFill>
                <a:latin typeface="Arial"/>
                <a:cs typeface="Arial"/>
              </a:rPr>
              <a:t>-</a:t>
            </a:r>
            <a:r>
              <a:rPr sz="1518" b="1" spc="-5" dirty="0">
                <a:solidFill>
                  <a:srgbClr val="404040"/>
                </a:solidFill>
                <a:latin typeface="Arial"/>
                <a:cs typeface="Arial"/>
              </a:rPr>
              <a:t>5</a:t>
            </a:r>
            <a:endParaRPr sz="151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48" name="object 48"/>
          <p:cNvGrpSpPr/>
          <p:nvPr/>
        </p:nvGrpSpPr>
        <p:grpSpPr>
          <a:xfrm>
            <a:off x="0" y="5061360"/>
            <a:ext cx="915703" cy="279530"/>
            <a:chOff x="0" y="5149596"/>
            <a:chExt cx="965200" cy="294640"/>
          </a:xfrm>
        </p:grpSpPr>
        <p:sp>
          <p:nvSpPr>
            <p:cNvPr id="49" name="object 49"/>
            <p:cNvSpPr/>
            <p:nvPr/>
          </p:nvSpPr>
          <p:spPr>
            <a:xfrm>
              <a:off x="0" y="5288280"/>
              <a:ext cx="814069" cy="20320"/>
            </a:xfrm>
            <a:custGeom>
              <a:avLst/>
              <a:gdLst/>
              <a:ahLst/>
              <a:cxnLst/>
              <a:rect l="l" t="t" r="r" b="b"/>
              <a:pathLst>
                <a:path w="814069" h="20320">
                  <a:moveTo>
                    <a:pt x="813714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813714" y="19812"/>
                  </a:lnTo>
                  <a:lnTo>
                    <a:pt x="813714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669036" y="5149596"/>
              <a:ext cx="295910" cy="294640"/>
            </a:xfrm>
            <a:custGeom>
              <a:avLst/>
              <a:gdLst/>
              <a:ahLst/>
              <a:cxnLst/>
              <a:rect l="l" t="t" r="r" b="b"/>
              <a:pathLst>
                <a:path w="295909" h="294639">
                  <a:moveTo>
                    <a:pt x="147827" y="0"/>
                  </a:moveTo>
                  <a:lnTo>
                    <a:pt x="101100" y="7491"/>
                  </a:lnTo>
                  <a:lnTo>
                    <a:pt x="60520" y="28358"/>
                  </a:lnTo>
                  <a:lnTo>
                    <a:pt x="28520" y="60185"/>
                  </a:lnTo>
                  <a:lnTo>
                    <a:pt x="7535" y="100559"/>
                  </a:lnTo>
                  <a:lnTo>
                    <a:pt x="0" y="147065"/>
                  </a:lnTo>
                  <a:lnTo>
                    <a:pt x="7535" y="193572"/>
                  </a:lnTo>
                  <a:lnTo>
                    <a:pt x="28520" y="233946"/>
                  </a:lnTo>
                  <a:lnTo>
                    <a:pt x="60520" y="265773"/>
                  </a:lnTo>
                  <a:lnTo>
                    <a:pt x="101100" y="286640"/>
                  </a:lnTo>
                  <a:lnTo>
                    <a:pt x="147827" y="294131"/>
                  </a:lnTo>
                  <a:lnTo>
                    <a:pt x="194555" y="286640"/>
                  </a:lnTo>
                  <a:lnTo>
                    <a:pt x="235135" y="265773"/>
                  </a:lnTo>
                  <a:lnTo>
                    <a:pt x="267135" y="233946"/>
                  </a:lnTo>
                  <a:lnTo>
                    <a:pt x="288120" y="193572"/>
                  </a:lnTo>
                  <a:lnTo>
                    <a:pt x="295655" y="147065"/>
                  </a:lnTo>
                  <a:lnTo>
                    <a:pt x="288120" y="100559"/>
                  </a:lnTo>
                  <a:lnTo>
                    <a:pt x="267135" y="60185"/>
                  </a:lnTo>
                  <a:lnTo>
                    <a:pt x="235135" y="28358"/>
                  </a:lnTo>
                  <a:lnTo>
                    <a:pt x="194555" y="749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7E7E7E">
                <a:alpha val="23136"/>
              </a:srgbClr>
            </a:solidFill>
          </p:spPr>
          <p:txBody>
            <a:bodyPr wrap="square" lIns="0" tIns="0" rIns="0" bIns="0" rtlCol="0"/>
            <a:lstStyle/>
            <a:p>
              <a:pPr defTabSz="867491"/>
              <a:endParaRPr sz="1708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1" name="object 5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16280" y="5195316"/>
              <a:ext cx="201167" cy="202691"/>
            </a:xfrm>
            <a:prstGeom prst="rect">
              <a:avLst/>
            </a:prstGeom>
          </p:spPr>
        </p:pic>
      </p:grpSp>
      <p:sp>
        <p:nvSpPr>
          <p:cNvPr id="52" name="object 52"/>
          <p:cNvSpPr txBox="1"/>
          <p:nvPr/>
        </p:nvSpPr>
        <p:spPr>
          <a:xfrm>
            <a:off x="1811404" y="5007623"/>
            <a:ext cx="1399459" cy="319943"/>
          </a:xfrm>
          <a:prstGeom prst="rect">
            <a:avLst/>
          </a:prstGeom>
        </p:spPr>
        <p:txBody>
          <a:bodyPr vert="horz" wrap="square" lIns="0" tIns="12049" rIns="0" bIns="0" rtlCol="0">
            <a:spAutoFit/>
          </a:bodyPr>
          <a:lstStyle/>
          <a:p>
            <a:pPr marL="12048" defTabSz="867491">
              <a:lnSpc>
                <a:spcPts val="1229"/>
              </a:lnSpc>
              <a:spcBef>
                <a:spcPts val="95"/>
              </a:spcBef>
            </a:pPr>
            <a:r>
              <a:rPr sz="1044" spc="-9" dirty="0">
                <a:solidFill>
                  <a:srgbClr val="0D0D0D"/>
                </a:solidFill>
                <a:latin typeface="Microsoft Sans Serif"/>
                <a:cs typeface="Microsoft Sans Serif"/>
              </a:rPr>
              <a:t>по</a:t>
            </a:r>
            <a:r>
              <a:rPr sz="1044" spc="-14" dirty="0">
                <a:solidFill>
                  <a:srgbClr val="0D0D0D"/>
                </a:solidFill>
                <a:latin typeface="Microsoft Sans Serif"/>
                <a:cs typeface="Microsoft Sans Serif"/>
              </a:rPr>
              <a:t> </a:t>
            </a:r>
            <a:r>
              <a:rPr sz="1044" spc="-5" dirty="0">
                <a:solidFill>
                  <a:srgbClr val="0D0D0D"/>
                </a:solidFill>
                <a:latin typeface="Microsoft Sans Serif"/>
                <a:cs typeface="Microsoft Sans Serif"/>
              </a:rPr>
              <a:t>объему</a:t>
            </a:r>
            <a:r>
              <a:rPr sz="1044" spc="-19" dirty="0">
                <a:solidFill>
                  <a:srgbClr val="0D0D0D"/>
                </a:solidFill>
                <a:latin typeface="Microsoft Sans Serif"/>
                <a:cs typeface="Microsoft Sans Serif"/>
              </a:rPr>
              <a:t> </a:t>
            </a:r>
            <a:r>
              <a:rPr sz="1044" spc="-5" dirty="0">
                <a:solidFill>
                  <a:srgbClr val="0D0D0D"/>
                </a:solidFill>
                <a:latin typeface="Microsoft Sans Serif"/>
                <a:cs typeface="Microsoft Sans Serif"/>
              </a:rPr>
              <a:t>выданных</a:t>
            </a:r>
            <a:endParaRPr sz="1044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048" defTabSz="867491">
              <a:lnSpc>
                <a:spcPts val="1229"/>
              </a:lnSpc>
            </a:pPr>
            <a:r>
              <a:rPr sz="1044" b="1" dirty="0">
                <a:solidFill>
                  <a:srgbClr val="404040"/>
                </a:solidFill>
                <a:latin typeface="Arial"/>
                <a:cs typeface="Arial"/>
              </a:rPr>
              <a:t>ипо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те</a:t>
            </a:r>
            <a:r>
              <a:rPr sz="1044" b="1" spc="-9" dirty="0">
                <a:solidFill>
                  <a:srgbClr val="404040"/>
                </a:solidFill>
                <a:latin typeface="Arial"/>
                <a:cs typeface="Arial"/>
              </a:rPr>
              <a:t>ч</a:t>
            </a:r>
            <a:r>
              <a:rPr sz="1044" b="1" dirty="0">
                <a:solidFill>
                  <a:srgbClr val="404040"/>
                </a:solidFill>
                <a:latin typeface="Arial"/>
                <a:cs typeface="Arial"/>
              </a:rPr>
              <a:t>ных</a:t>
            </a:r>
            <a:r>
              <a:rPr sz="1044" b="1" spc="-43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кре</a:t>
            </a:r>
            <a:r>
              <a:rPr sz="1044" b="1" spc="-9" dirty="0">
                <a:solidFill>
                  <a:srgbClr val="404040"/>
                </a:solidFill>
                <a:latin typeface="Arial"/>
                <a:cs typeface="Arial"/>
              </a:rPr>
              <a:t>д</a:t>
            </a:r>
            <a:r>
              <a:rPr sz="1044" b="1" dirty="0">
                <a:solidFill>
                  <a:srgbClr val="404040"/>
                </a:solidFill>
                <a:latin typeface="Arial"/>
                <a:cs typeface="Arial"/>
              </a:rPr>
              <a:t>ит</a:t>
            </a:r>
            <a:r>
              <a:rPr sz="1044" b="1" spc="-5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sz="1044" b="1" dirty="0">
                <a:solidFill>
                  <a:srgbClr val="404040"/>
                </a:solidFill>
                <a:latin typeface="Arial"/>
                <a:cs typeface="Arial"/>
              </a:rPr>
              <a:t>в</a:t>
            </a:r>
            <a:endParaRPr sz="1044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8" name="Номер слайда 2">
            <a:extLst>
              <a:ext uri="{FF2B5EF4-FFF2-40B4-BE49-F238E27FC236}">
                <a16:creationId xmlns:a16="http://schemas.microsoft.com/office/drawing/2014/main" xmlns="" id="{C3527767-2FA6-BF40-9648-5CCD56BEC6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13799" y="6448570"/>
            <a:ext cx="365877" cy="215444"/>
          </a:xfrm>
          <a:prstGeom prst="rect">
            <a:avLst/>
          </a:prstGeom>
        </p:spPr>
        <p:txBody>
          <a:bodyPr/>
          <a:lstStyle/>
          <a:p>
            <a:fld id="{51036E43-BD2F-D44D-850A-5FFB25242708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5238" y="5962611"/>
            <a:ext cx="2654962" cy="608962"/>
          </a:xfrm>
          <a:prstGeom prst="rect">
            <a:avLst/>
          </a:prstGeom>
        </p:spPr>
      </p:pic>
      <p:sp>
        <p:nvSpPr>
          <p:cNvPr id="61" name="object 3"/>
          <p:cNvSpPr/>
          <p:nvPr/>
        </p:nvSpPr>
        <p:spPr>
          <a:xfrm>
            <a:off x="5156200" y="1295400"/>
            <a:ext cx="1916751" cy="1937574"/>
          </a:xfrm>
          <a:prstGeom prst="arc">
            <a:avLst>
              <a:gd name="adj1" fmla="val 13087712"/>
              <a:gd name="adj2" fmla="val 463131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object 3"/>
          <p:cNvSpPr/>
          <p:nvPr/>
        </p:nvSpPr>
        <p:spPr>
          <a:xfrm>
            <a:off x="5003800" y="3200400"/>
            <a:ext cx="2156296" cy="2054261"/>
          </a:xfrm>
          <a:prstGeom prst="arc">
            <a:avLst>
              <a:gd name="adj1" fmla="val 17078022"/>
              <a:gd name="adj2" fmla="val 847172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865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1220678">
            <a:off x="7668301" y="300307"/>
            <a:ext cx="1223808" cy="859564"/>
          </a:xfrm>
          <a:prstGeom prst="rect">
            <a:avLst/>
          </a:prstGeom>
          <a:ln w="12700">
            <a:miter lim="400000"/>
          </a:ln>
        </p:spPr>
      </p:pic>
      <p:sp>
        <p:nvSpPr>
          <p:cNvPr id="116" name="РОССЕЛЬХОЗБАНК СЕГОДНЯ"/>
          <p:cNvSpPr txBox="1"/>
          <p:nvPr/>
        </p:nvSpPr>
        <p:spPr>
          <a:xfrm>
            <a:off x="219721" y="614037"/>
            <a:ext cx="8481989" cy="364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241" tIns="35241" rIns="35241" bIns="35241">
            <a:spAutoFit/>
          </a:bodyPr>
          <a:lstStyle>
            <a:lvl1pPr algn="ctr">
              <a:lnSpc>
                <a:spcPct val="90000"/>
              </a:lnSpc>
              <a:defRPr sz="5500" b="1" cap="all" spc="550">
                <a:solidFill>
                  <a:srgbClr val="294F31"/>
                </a:solidFill>
              </a:defRPr>
            </a:lvl1pPr>
          </a:lstStyle>
          <a:p>
            <a:pPr defTabSz="704820" hangingPunct="0"/>
            <a:r>
              <a:rPr lang="ru-RU" sz="2120" kern="0" spc="212" dirty="0">
                <a:latin typeface="Century Gothic"/>
                <a:sym typeface="Century Gothic"/>
              </a:rPr>
              <a:t>УПОЛНОМОЧЕННЫЙ ПРЕДСТАВИТЕЛЬ</a:t>
            </a:r>
            <a:endParaRPr sz="2120" kern="0" spc="212" dirty="0">
              <a:latin typeface="Century Gothic"/>
              <a:sym typeface="Century Gothic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97" y="386111"/>
            <a:ext cx="963641" cy="82916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08000" y="1083397"/>
            <a:ext cx="8148386" cy="1017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4820" hangingPunct="0"/>
            <a:r>
              <a:rPr lang="ru-RU" sz="1233" kern="0" dirty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Уполномоченный представитель </a:t>
            </a:r>
            <a:r>
              <a:rPr lang="ru-RU" sz="1233" kern="0" dirty="0" smtClean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– физическое лицо, представляющее интересы АО «Россельхозбанк» на территории одного или нескольких муниципальных образований. Данный человек не является штатным сотрудников Банка, с ним заключается договор ГПХ на оказание услуг, оплата сдельная согласно действующего в Банке тарифного плана</a:t>
            </a:r>
            <a:endParaRPr lang="ru-RU" sz="1233" kern="0" dirty="0">
              <a:solidFill>
                <a:srgbClr val="535353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  <a:p>
            <a:pPr algn="ctr" defTabSz="704820" hangingPunct="0"/>
            <a:r>
              <a:rPr lang="ru-RU" sz="1079" b="1" kern="0" dirty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roximaNova"/>
                <a:sym typeface="Century Gothic"/>
              </a:rPr>
              <a:t> </a:t>
            </a:r>
            <a:endParaRPr lang="ru-RU" sz="1079" b="1" kern="0" dirty="0">
              <a:solidFill>
                <a:srgbClr val="535353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7963" y="1924218"/>
            <a:ext cx="5444474" cy="1420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04820" hangingPunct="0"/>
            <a:r>
              <a:rPr lang="ru-RU" sz="1079" b="1" kern="0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Чем занимается уполномоченный представитель</a:t>
            </a:r>
            <a:r>
              <a:rPr lang="ru-RU" sz="1079" b="1" kern="0" dirty="0" smtClean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:</a:t>
            </a:r>
            <a:endParaRPr lang="ru-RU" sz="1079" b="1" kern="0" dirty="0">
              <a:solidFill>
                <a:schemeClr val="accent3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 Обеспечение роста клиентской базы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проведение мероприятий на местных предприятиях и организациях (презентации, проведение круглых столов) 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Предоставление консультаций о </a:t>
            </a:r>
            <a:r>
              <a:rPr lang="ru-RU" sz="1079" kern="0" dirty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розничных </a:t>
            </a: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продуктах </a:t>
            </a:r>
            <a:r>
              <a:rPr lang="ru-RU" sz="1079" kern="0" dirty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Банка (кредиты, кредитные карты, вклады);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Помощь в оформлении кредитных продуктов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chemeClr val="accent3">
                    <a:lumMod val="75000"/>
                  </a:schemeClr>
                </a:solidFill>
                <a:latin typeface="Century Gothic"/>
                <a:sym typeface="Century Gothic"/>
              </a:rPr>
              <a:t>Обучение клиента банковским сервисам, в том числе и дистанционным .</a:t>
            </a:r>
            <a:r>
              <a:rPr lang="ru-RU" sz="1079" kern="0" dirty="0" smtClean="0">
                <a:solidFill>
                  <a:srgbClr val="000000"/>
                </a:solidFill>
                <a:latin typeface="Century Gothic"/>
                <a:sym typeface="Century Gothic"/>
              </a:rPr>
              <a:t> </a:t>
            </a:r>
            <a:endParaRPr lang="ru-RU" sz="1079" kern="0" dirty="0">
              <a:solidFill>
                <a:srgbClr val="000000"/>
              </a:solidFill>
              <a:latin typeface="Century Gothic"/>
              <a:sym typeface="Century Gothic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7732" y="3444888"/>
            <a:ext cx="5194235" cy="922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04820" hangingPunct="0"/>
            <a:r>
              <a:rPr lang="ru-RU" sz="1079" b="1" kern="0" dirty="0" smtClean="0">
                <a:solidFill>
                  <a:srgbClr val="FD820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Со стороны банка:</a:t>
            </a:r>
            <a:endParaRPr lang="ru-RU" sz="1079" b="1" kern="0" dirty="0">
              <a:solidFill>
                <a:srgbClr val="FD820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FD8207"/>
                </a:solidFill>
                <a:latin typeface="Century Gothic"/>
                <a:sym typeface="Century Gothic"/>
              </a:rPr>
              <a:t> Обучение по продуктам Банка;</a:t>
            </a:r>
            <a:endParaRPr lang="ru-RU" sz="1079" kern="0" dirty="0">
              <a:solidFill>
                <a:srgbClr val="FD8207"/>
              </a:solidFill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rgbClr val="FD8207"/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rgbClr val="FD8207"/>
                </a:solidFill>
                <a:latin typeface="Century Gothic"/>
                <a:sym typeface="Century Gothic"/>
              </a:rPr>
              <a:t>Достойное вознаграждение;</a:t>
            </a:r>
            <a:endParaRPr lang="ru-RU" sz="1079" kern="0" dirty="0">
              <a:solidFill>
                <a:srgbClr val="FD8207"/>
              </a:solidFill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rgbClr val="FD8207"/>
                </a:solidFill>
                <a:latin typeface="Century Gothic"/>
                <a:sym typeface="Century Gothic"/>
              </a:rPr>
              <a:t> Гибкий график </a:t>
            </a:r>
            <a:r>
              <a:rPr lang="ru-RU" sz="1079" kern="0" dirty="0" smtClean="0">
                <a:solidFill>
                  <a:srgbClr val="FD8207"/>
                </a:solidFill>
                <a:latin typeface="Century Gothic"/>
                <a:sym typeface="Century Gothic"/>
              </a:rPr>
              <a:t>занятости.</a:t>
            </a:r>
            <a:endParaRPr lang="ru-RU" sz="1079" kern="0" dirty="0">
              <a:solidFill>
                <a:srgbClr val="FD8207"/>
              </a:solidFill>
              <a:latin typeface="Century Gothic"/>
              <a:sym typeface="Century Gothic"/>
            </a:endParaRPr>
          </a:p>
          <a:p>
            <a:pPr defTabSz="704820" hangingPunct="0"/>
            <a:endParaRPr lang="ru-RU" sz="1079" kern="0" dirty="0">
              <a:solidFill>
                <a:srgbClr val="000000"/>
              </a:solidFill>
              <a:latin typeface="Century Gothic"/>
              <a:sym typeface="Century Gothic"/>
            </a:endParaRPr>
          </a:p>
        </p:txBody>
      </p:sp>
      <p:pic>
        <p:nvPicPr>
          <p:cNvPr id="31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9082381">
            <a:off x="8191970" y="499117"/>
            <a:ext cx="1244164" cy="854875"/>
          </a:xfrm>
          <a:prstGeom prst="rect">
            <a:avLst/>
          </a:prstGeom>
          <a:ln w="12700">
            <a:miter lim="400000"/>
          </a:ln>
        </p:spPr>
      </p:pic>
      <p:pic>
        <p:nvPicPr>
          <p:cNvPr id="2050" name="Picture 2" descr="https://plusiminus.com/images/ru/news/23853_b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89" t="316" r="11030"/>
          <a:stretch/>
        </p:blipFill>
        <p:spPr bwMode="auto">
          <a:xfrm>
            <a:off x="5506641" y="2362200"/>
            <a:ext cx="3891359" cy="3112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bject 24"/>
          <p:cNvSpPr/>
          <p:nvPr/>
        </p:nvSpPr>
        <p:spPr>
          <a:xfrm>
            <a:off x="0" y="527186"/>
            <a:ext cx="85546" cy="547012"/>
          </a:xfrm>
          <a:custGeom>
            <a:avLst/>
            <a:gdLst/>
            <a:ahLst/>
            <a:cxnLst/>
            <a:rect l="l" t="t" r="r" b="b"/>
            <a:pathLst>
              <a:path w="90170" h="576580">
                <a:moveTo>
                  <a:pt x="89916" y="0"/>
                </a:moveTo>
                <a:lnTo>
                  <a:pt x="0" y="0"/>
                </a:lnTo>
                <a:lnTo>
                  <a:pt x="0" y="576072"/>
                </a:lnTo>
                <a:lnTo>
                  <a:pt x="89916" y="576072"/>
                </a:lnTo>
                <a:lnTo>
                  <a:pt x="89916" y="0"/>
                </a:lnTo>
                <a:close/>
              </a:path>
            </a:pathLst>
          </a:custGeom>
          <a:solidFill>
            <a:srgbClr val="FFD104"/>
          </a:solidFill>
        </p:spPr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Номер слайда 2">
            <a:extLst>
              <a:ext uri="{FF2B5EF4-FFF2-40B4-BE49-F238E27FC236}">
                <a16:creationId xmlns:a16="http://schemas.microsoft.com/office/drawing/2014/main" xmlns="" id="{C3527767-2FA6-BF40-9648-5CCD56BEC6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29296" y="6387018"/>
            <a:ext cx="250380" cy="338546"/>
          </a:xfrm>
          <a:prstGeom prst="rect">
            <a:avLst/>
          </a:prstGeom>
        </p:spPr>
        <p:txBody>
          <a:bodyPr/>
          <a:lstStyle/>
          <a:p>
            <a:fld id="{51036E43-BD2F-D44D-850A-5FFB25242708}" type="slidenum">
              <a:rPr lang="ru-RU" sz="10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238" y="5962611"/>
            <a:ext cx="2654962" cy="608962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157732" y="4367576"/>
            <a:ext cx="5194235" cy="1254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04820" hangingPunct="0"/>
            <a:r>
              <a:rPr lang="ru-RU" sz="1079" b="1" kern="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Со стороны местных органов нужна следующая поддержка:</a:t>
            </a:r>
            <a:endParaRPr lang="ru-RU" sz="1079" b="1" kern="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chemeClr val="accent2"/>
                </a:solidFill>
                <a:latin typeface="Century Gothic"/>
                <a:sym typeface="Century Gothic"/>
              </a:rPr>
              <a:t> Помощь в подборе кандидата;</a:t>
            </a:r>
            <a:endParaRPr lang="ru-RU" sz="1079" kern="0" dirty="0">
              <a:solidFill>
                <a:schemeClr val="accent2"/>
              </a:solidFill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chemeClr val="accent2"/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chemeClr val="accent2"/>
                </a:solidFill>
                <a:latin typeface="Century Gothic"/>
                <a:sym typeface="Century Gothic"/>
              </a:rPr>
              <a:t>Приглашение УП на совещании и мероприятии, организуемые администрацией;</a:t>
            </a:r>
            <a:endParaRPr lang="ru-RU" sz="1079" kern="0" dirty="0">
              <a:solidFill>
                <a:schemeClr val="accent2"/>
              </a:solidFill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chemeClr val="accent2"/>
                </a:solidFill>
                <a:latin typeface="Century Gothic"/>
                <a:sym typeface="Century Gothic"/>
              </a:rPr>
              <a:t> </a:t>
            </a:r>
            <a:r>
              <a:rPr lang="ru-RU" sz="1079" kern="0" dirty="0" smtClean="0">
                <a:solidFill>
                  <a:schemeClr val="accent2"/>
                </a:solidFill>
                <a:latin typeface="Century Gothic"/>
                <a:sym typeface="Century Gothic"/>
              </a:rPr>
              <a:t>Возможность организации присутствия УП на территории администрации 1или 2 раза в неделю для консультирования.</a:t>
            </a:r>
            <a:endParaRPr lang="ru-RU" sz="1079" kern="0" dirty="0">
              <a:solidFill>
                <a:schemeClr val="accent2"/>
              </a:solidFill>
              <a:latin typeface="Century Gothic"/>
              <a:sym typeface="Century Gothic"/>
            </a:endParaRPr>
          </a:p>
          <a:p>
            <a:pPr defTabSz="704820" hangingPunct="0"/>
            <a:endParaRPr lang="ru-RU" sz="1079" kern="0" dirty="0">
              <a:solidFill>
                <a:schemeClr val="accent2"/>
              </a:solidFill>
              <a:latin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9584335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РОССЕЛЬХОЗБАНК СЕГОДНЯ"/>
          <p:cNvSpPr txBox="1"/>
          <p:nvPr/>
        </p:nvSpPr>
        <p:spPr>
          <a:xfrm>
            <a:off x="219721" y="611169"/>
            <a:ext cx="8481989" cy="364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241" tIns="35241" rIns="35241" bIns="35241">
            <a:spAutoFit/>
          </a:bodyPr>
          <a:lstStyle>
            <a:lvl1pPr algn="ctr">
              <a:lnSpc>
                <a:spcPct val="90000"/>
              </a:lnSpc>
              <a:defRPr sz="5500" b="1" cap="all" spc="550">
                <a:solidFill>
                  <a:srgbClr val="294F31"/>
                </a:solidFill>
              </a:defRPr>
            </a:lvl1pPr>
          </a:lstStyle>
          <a:p>
            <a:pPr defTabSz="704820" hangingPunct="0"/>
            <a:r>
              <a:rPr lang="ru-RU" sz="2120" kern="0" spc="212" dirty="0">
                <a:latin typeface="Century Gothic"/>
                <a:sym typeface="Century Gothic"/>
              </a:rPr>
              <a:t>УПОЛНОМОЧЕННЫЙ ПРЕДСТАВИТЕЛЬ</a:t>
            </a:r>
            <a:endParaRPr sz="2120" kern="0" spc="212" dirty="0">
              <a:latin typeface="Century Gothic"/>
              <a:sym typeface="Century Gothic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06" y="386111"/>
            <a:ext cx="963641" cy="82916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889000" y="1150258"/>
            <a:ext cx="6947807" cy="282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04820" hangingPunct="0"/>
            <a:r>
              <a:rPr lang="ru-RU" sz="1233" kern="0" dirty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Уполномоченный представитель </a:t>
            </a:r>
            <a:r>
              <a:rPr lang="ru-RU" sz="1233" kern="0" dirty="0" smtClean="0">
                <a:solidFill>
                  <a:srgbClr val="535353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– работа в удовольствие!</a:t>
            </a:r>
            <a:endParaRPr lang="ru-RU" sz="1079" b="1" kern="0" dirty="0">
              <a:solidFill>
                <a:srgbClr val="535353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8806" y="1636743"/>
            <a:ext cx="5444474" cy="4410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04820" hangingPunct="0"/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    Подбор:</a:t>
            </a:r>
          </a:p>
          <a:p>
            <a:pPr marL="171450" indent="-171450"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Сотрудник местной администрации</a:t>
            </a:r>
          </a:p>
          <a:p>
            <a:pPr marL="171450" indent="-171450"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Из числа сотрудников, осуществляющих социальное обслуживание</a:t>
            </a:r>
          </a:p>
          <a:p>
            <a:pPr marL="171450" indent="-171450"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Активная жизненная позиция</a:t>
            </a:r>
          </a:p>
          <a:p>
            <a:pPr marL="171450" indent="-171450" defTabSz="704820" hangingPunct="0">
              <a:buFont typeface="Arial" panose="020B0604020202020204" pitchFamily="34" charset="0"/>
              <a:buChar char="•"/>
            </a:pPr>
            <a:endParaRPr lang="ru-RU" sz="1079" b="1" kern="0" dirty="0" smtClean="0">
              <a:solidFill>
                <a:srgbClr val="5353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Century Gothic"/>
            </a:endParaRPr>
          </a:p>
          <a:p>
            <a:pPr defTabSz="704820" hangingPunct="0"/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    Требования </a:t>
            </a:r>
            <a:r>
              <a:rPr lang="ru-RU" sz="1079" b="1" kern="0" dirty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к </a:t>
            </a:r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кандидатам</a:t>
            </a:r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sym typeface="Century Gothic"/>
              </a:rPr>
              <a:t>:</a:t>
            </a:r>
            <a:endParaRPr lang="ru-RU" sz="1079" b="1" kern="0" dirty="0">
              <a:solidFill>
                <a:srgbClr val="5353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Желание зарабатывать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 </a:t>
            </a: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Желание обучаться</a:t>
            </a:r>
          </a:p>
          <a:p>
            <a:pPr defTabSz="704820" hangingPunct="0"/>
            <a:endParaRPr lang="ru-RU" sz="1079" kern="0" dirty="0">
              <a:solidFill>
                <a:srgbClr val="000000"/>
              </a:solidFill>
              <a:sym typeface="Century Gothic"/>
            </a:endParaRPr>
          </a:p>
          <a:p>
            <a:pPr defTabSz="704820" hangingPunct="0"/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  </a:t>
            </a:r>
            <a:r>
              <a:rPr lang="ru-RU" sz="1079" b="1" kern="0" dirty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Компетенции: 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 Коммуникабельность</a:t>
            </a: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, трудоспособность, </a:t>
            </a: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ответственность, </a:t>
            </a: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грамотная речь, социализация;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 Использование </a:t>
            </a: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в работе мобильных приложений и социальных сетей</a:t>
            </a: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. Доступ к интернету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endParaRPr lang="ru-RU" sz="1079" kern="0" dirty="0">
              <a:solidFill>
                <a:srgbClr val="000000"/>
              </a:solidFill>
              <a:sym typeface="Century Gothic"/>
            </a:endParaRPr>
          </a:p>
          <a:p>
            <a:pPr defTabSz="704820" hangingPunct="0"/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     Условия </a:t>
            </a:r>
            <a:r>
              <a:rPr lang="ru-RU" sz="1079" b="1" kern="0" dirty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занятости: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 Оформление </a:t>
            </a: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осуществляется  по договору  безвозмездного оказания услуг (гл. 39 ГК РФ).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endParaRPr lang="ru-RU" sz="1079" kern="0" dirty="0" smtClean="0">
              <a:solidFill>
                <a:srgbClr val="000000"/>
              </a:solidFill>
              <a:sym typeface="Century Gothic"/>
            </a:endParaRPr>
          </a:p>
          <a:p>
            <a:pPr defTabSz="704820" hangingPunct="0"/>
            <a:r>
              <a:rPr lang="ru-RU" sz="1079" b="1" kern="0" dirty="0" smtClean="0">
                <a:solidFill>
                  <a:srgbClr val="5353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Century Gothic"/>
              </a:rPr>
              <a:t>     Перечень документов необходимых для заключения договора с УП:</a:t>
            </a:r>
            <a:endParaRPr lang="ru-RU" sz="1079" b="1" kern="0" dirty="0">
              <a:solidFill>
                <a:srgbClr val="5353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   </a:t>
            </a: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Анкета;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>
                <a:solidFill>
                  <a:srgbClr val="000000"/>
                </a:solidFill>
                <a:sym typeface="Century Gothic"/>
              </a:rPr>
              <a:t> </a:t>
            </a: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Копия паспорта;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ИНН;</a:t>
            </a:r>
          </a:p>
          <a:p>
            <a:pPr defTabSz="704820" hangingPunct="0">
              <a:buFont typeface="Arial" panose="020B0604020202020204" pitchFamily="34" charset="0"/>
              <a:buChar char="•"/>
            </a:pPr>
            <a:r>
              <a:rPr lang="ru-RU" sz="1079" kern="0" dirty="0" smtClean="0">
                <a:solidFill>
                  <a:srgbClr val="000000"/>
                </a:solidFill>
                <a:sym typeface="Century Gothic"/>
              </a:rPr>
              <a:t>   СНИЛС.</a:t>
            </a:r>
            <a:endParaRPr lang="ru-RU" sz="1079" kern="0" dirty="0">
              <a:solidFill>
                <a:srgbClr val="000000"/>
              </a:solidFill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endParaRPr lang="ru-RU" sz="1079" kern="0" dirty="0" smtClean="0">
              <a:solidFill>
                <a:srgbClr val="000000"/>
              </a:solidFill>
              <a:sym typeface="Century Gothic"/>
            </a:endParaRPr>
          </a:p>
          <a:p>
            <a:pPr defTabSz="704820" hangingPunct="0">
              <a:buFont typeface="Arial" panose="020B0604020202020204" pitchFamily="34" charset="0"/>
              <a:buChar char="•"/>
            </a:pPr>
            <a:endParaRPr lang="ru-RU" sz="1079" kern="0" dirty="0">
              <a:solidFill>
                <a:srgbClr val="000000"/>
              </a:solidFill>
              <a:sym typeface="Century Gothic"/>
            </a:endParaRPr>
          </a:p>
        </p:txBody>
      </p:sp>
      <p:pic>
        <p:nvPicPr>
          <p:cNvPr id="13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039" y="2297002"/>
            <a:ext cx="4225939" cy="2842434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object 24"/>
          <p:cNvSpPr/>
          <p:nvPr/>
        </p:nvSpPr>
        <p:spPr>
          <a:xfrm>
            <a:off x="0" y="527186"/>
            <a:ext cx="85546" cy="547012"/>
          </a:xfrm>
          <a:custGeom>
            <a:avLst/>
            <a:gdLst/>
            <a:ahLst/>
            <a:cxnLst/>
            <a:rect l="l" t="t" r="r" b="b"/>
            <a:pathLst>
              <a:path w="90170" h="576580">
                <a:moveTo>
                  <a:pt x="89916" y="0"/>
                </a:moveTo>
                <a:lnTo>
                  <a:pt x="0" y="0"/>
                </a:lnTo>
                <a:lnTo>
                  <a:pt x="0" y="576072"/>
                </a:lnTo>
                <a:lnTo>
                  <a:pt x="89916" y="576072"/>
                </a:lnTo>
                <a:lnTo>
                  <a:pt x="89916" y="0"/>
                </a:lnTo>
                <a:close/>
              </a:path>
            </a:pathLst>
          </a:custGeom>
          <a:solidFill>
            <a:srgbClr val="FFD104"/>
          </a:solidFill>
        </p:spPr>
        <p:txBody>
          <a:bodyPr wrap="square" lIns="0" tIns="0" rIns="0" bIns="0" rtlCol="0"/>
          <a:lstStyle/>
          <a:p>
            <a:pPr defTabSz="867491"/>
            <a:endParaRPr sz="1708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5" name="Изображение" descr="Изображение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7375796" y="92253"/>
            <a:ext cx="1901182" cy="105800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xmlns="" id="{C3527767-2FA6-BF40-9648-5CCD56BEC6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29296" y="6387018"/>
            <a:ext cx="250380" cy="338546"/>
          </a:xfrm>
          <a:prstGeom prst="rect">
            <a:avLst/>
          </a:prstGeom>
        </p:spPr>
        <p:txBody>
          <a:bodyPr/>
          <a:lstStyle/>
          <a:p>
            <a:fld id="{51036E43-BD2F-D44D-850A-5FFB25242708}" type="slidenum">
              <a:rPr lang="ru-RU" sz="10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</a:t>
            </a:fld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238" y="5962611"/>
            <a:ext cx="2654962" cy="608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7458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841" y="4159753"/>
            <a:ext cx="8991600" cy="2698247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Скругленный прямоугольник 1"/>
          <p:cNvSpPr/>
          <p:nvPr/>
        </p:nvSpPr>
        <p:spPr>
          <a:xfrm>
            <a:off x="1495857" y="2272827"/>
            <a:ext cx="6455593" cy="2624005"/>
          </a:xfrm>
          <a:prstGeom prst="roundRect">
            <a:avLst/>
          </a:prstGeom>
          <a:noFill/>
          <a:ln w="25400" cap="flat">
            <a:solidFill>
              <a:srgbClr val="18502D"/>
            </a:solidFill>
            <a:prstDash val="solid"/>
            <a:round/>
          </a:ln>
          <a:effectLst>
            <a:outerShdw blurRad="76200" dist="381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241" tIns="35241" rIns="35241" bIns="35241" numCol="1" spcCol="38100" rtlCol="0" anchor="ctr">
            <a:spAutoFit/>
          </a:bodyPr>
          <a:lstStyle/>
          <a:p>
            <a:pPr defTabSz="704820" hangingPunct="0"/>
            <a:endParaRPr lang="ru-RU" sz="1387" kern="0" dirty="0">
              <a:solidFill>
                <a:srgbClr val="000000"/>
              </a:solidFill>
              <a:latin typeface="Century Gothic"/>
              <a:sym typeface="Century Gothic"/>
            </a:endParaRPr>
          </a:p>
        </p:txBody>
      </p:sp>
      <p:sp>
        <p:nvSpPr>
          <p:cNvPr id="116" name="РОССЕЛЬХОЗБАНК СЕГОДНЯ"/>
          <p:cNvSpPr txBox="1"/>
          <p:nvPr/>
        </p:nvSpPr>
        <p:spPr>
          <a:xfrm>
            <a:off x="546646" y="1300016"/>
            <a:ext cx="8481989" cy="135203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241" tIns="35241" rIns="35241" bIns="35241">
            <a:spAutoFit/>
          </a:bodyPr>
          <a:lstStyle>
            <a:lvl1pPr algn="ctr">
              <a:lnSpc>
                <a:spcPct val="90000"/>
              </a:lnSpc>
              <a:defRPr sz="5500" b="1" cap="all" spc="550">
                <a:solidFill>
                  <a:srgbClr val="294F31"/>
                </a:solidFill>
              </a:defRPr>
            </a:lvl1pPr>
          </a:lstStyle>
          <a:p>
            <a:pPr defTabSz="704820" hangingPunct="0"/>
            <a:r>
              <a:rPr lang="ru-RU" sz="2312" kern="0" spc="212" dirty="0">
                <a:latin typeface="Century Gothic"/>
                <a:sym typeface="Century Gothic"/>
              </a:rPr>
              <a:t>По вопросам сотрудничества с банком в качестве Уполномоченного представителя обращаться:</a:t>
            </a:r>
          </a:p>
          <a:p>
            <a:pPr defTabSz="704820" hangingPunct="0"/>
            <a:endParaRPr sz="2312" kern="0" spc="212" dirty="0">
              <a:latin typeface="Century Gothic"/>
              <a:sym typeface="Century Gothic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145" y="228600"/>
            <a:ext cx="996085" cy="85707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623829" y="2651283"/>
            <a:ext cx="6327621" cy="2244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рубина Татьяна </a:t>
            </a:r>
          </a:p>
          <a:p>
            <a:r>
              <a:rPr lang="ru-RU" dirty="0"/>
              <a:t>Заместитель начальника</a:t>
            </a:r>
          </a:p>
          <a:p>
            <a:r>
              <a:rPr lang="ru-RU" dirty="0"/>
              <a:t>отдела по развитию корпоративного канала продаж</a:t>
            </a:r>
          </a:p>
          <a:p>
            <a:r>
              <a:rPr lang="ru-RU" dirty="0"/>
              <a:t>Читинский РФ АО "Россельхозбанк"</a:t>
            </a:r>
          </a:p>
          <a:p>
            <a:r>
              <a:rPr lang="ru-RU" dirty="0" smtClean="0"/>
              <a:t>7(3022</a:t>
            </a:r>
            <a:r>
              <a:rPr lang="ru-RU" dirty="0"/>
              <a:t>) </a:t>
            </a:r>
            <a:r>
              <a:rPr lang="ru-RU" dirty="0" smtClean="0"/>
              <a:t>36-99-99, </a:t>
            </a:r>
            <a:r>
              <a:rPr lang="ru-RU" dirty="0"/>
              <a:t>вн. (747)1202</a:t>
            </a:r>
          </a:p>
          <a:p>
            <a:r>
              <a:rPr lang="ru-RU" dirty="0"/>
              <a:t>сот. 8-929-480-17-37</a:t>
            </a:r>
          </a:p>
          <a:p>
            <a:r>
              <a:rPr lang="en-US" dirty="0"/>
              <a:t>ZarubinaTV@chita.rshb.ru</a:t>
            </a:r>
            <a:endParaRPr lang="ru-RU" sz="1387" i="1" kern="0" dirty="0" smtClean="0">
              <a:solidFill>
                <a:srgbClr val="FFFFFF">
                  <a:lumMod val="50000"/>
                </a:srgbClr>
              </a:solidFill>
              <a:latin typeface="Century Gothic"/>
              <a:sym typeface="Century Gothic"/>
            </a:endParaRPr>
          </a:p>
          <a:p>
            <a:pPr defTabSz="704820" hangingPunct="0"/>
            <a:endParaRPr lang="ru-RU" sz="1387" i="1" kern="0" dirty="0">
              <a:solidFill>
                <a:srgbClr val="FFFFFF">
                  <a:lumMod val="50000"/>
                </a:srgbClr>
              </a:solidFill>
              <a:latin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647380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TkYFWdr.SQC57Eb.s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Шаблон РСХБ_внутренняя презентация">
  <a:themeElements>
    <a:clrScheme name="Россельхозбанк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D38"/>
      </a:accent3>
      <a:accent4>
        <a:srgbClr val="2C5F2F"/>
      </a:accent4>
      <a:accent5>
        <a:srgbClr val="FE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1" id="{0BA0668D-C895-0D41-BF2E-49AD7A3C7C2E}" vid="{8E750EF5-9C32-404C-8E24-559198507400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Тема Office">
      <a:majorFont>
        <a:latin typeface="Century Gothic"/>
        <a:ea typeface="Century Gothic"/>
        <a:cs typeface="Century Gothic"/>
      </a:majorFont>
      <a:minorFont>
        <a:latin typeface="Century Gothic"/>
        <a:ea typeface="Century Gothic"/>
        <a:cs typeface="Century Gothic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6" tIns="91436" rIns="91436" bIns="91436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entury Gothic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76200" dist="381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91436" tIns="91436" rIns="91436" bIns="91436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entury Gothic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5A1A8ED80F6F949B06F379FFB0FB2ED" ma:contentTypeVersion="0" ma:contentTypeDescription="Создание документа." ma:contentTypeScope="" ma:versionID="38f2e192a8f0890561b520f99769099e">
  <xsd:schema xmlns:xsd="http://www.w3.org/2001/XMLSchema" xmlns:xs="http://www.w3.org/2001/XMLSchema" xmlns:p="http://schemas.microsoft.com/office/2006/metadata/properties" xmlns:ns2="667ea8c4-e13b-4022-ae41-c146554f18f0" targetNamespace="http://schemas.microsoft.com/office/2006/metadata/properties" ma:root="true" ma:fieldsID="089ef0accd68cf71d77274146770523a" ns2:_="">
    <xsd:import namespace="667ea8c4-e13b-4022-ae41-c146554f18f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ea8c4-e13b-4022-ae41-c146554f18f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67ea8c4-e13b-4022-ae41-c146554f18f0">DRRB-29-175</_dlc_DocId>
    <_dlc_DocIdUrl xmlns="667ea8c4-e13b-4022-ae41-c146554f18f0">
      <Url>https://portal/departments/drrb/_layouts/15/DocIdRedir.aspx?ID=DRRB-29-175</Url>
      <Description>DRRB-29-17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35CCCE-EEC6-49A1-9752-BCFB5C9EC3E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FDDEC8B-8A2D-4D2F-AAAB-679D4E126D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7ea8c4-e13b-4022-ae41-c146554f18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B4D9B8-4C37-4A19-A19F-AE0FBE5E3500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667ea8c4-e13b-4022-ae41-c146554f18f0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23099732-BD8F-4DA2-BEFC-6F32A487132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4</TotalTime>
  <Words>395</Words>
  <Application>Microsoft Office PowerPoint</Application>
  <PresentationFormat>Произвольный</PresentationFormat>
  <Paragraphs>84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9" baseType="lpstr">
      <vt:lpstr>3_Шаблон РСХБ_внутренняя презентация</vt:lpstr>
      <vt:lpstr>Тема Office</vt:lpstr>
      <vt:lpstr>1_Office Theme</vt:lpstr>
      <vt:lpstr>Слайд think-cell</vt:lpstr>
      <vt:lpstr>Презентация PowerPoint</vt:lpstr>
      <vt:lpstr>Россельхозбанк Сегодня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 нами надежно</dc:title>
  <dc:creator>Громыко Анастасия Павловна</dc:creator>
  <cp:lastModifiedBy>Мария Черныш</cp:lastModifiedBy>
  <cp:revision>88</cp:revision>
  <cp:lastPrinted>2022-06-09T12:11:23Z</cp:lastPrinted>
  <dcterms:created xsi:type="dcterms:W3CDTF">2022-05-18T07:15:46Z</dcterms:created>
  <dcterms:modified xsi:type="dcterms:W3CDTF">2023-05-30T03:1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7-21T00:00:00Z</vt:filetime>
  </property>
  <property fmtid="{D5CDD505-2E9C-101B-9397-08002B2CF9AE}" pid="3" name="LastSaved">
    <vt:filetime>2022-05-18T00:00:00Z</vt:filetime>
  </property>
  <property fmtid="{D5CDD505-2E9C-101B-9397-08002B2CF9AE}" pid="4" name="ContentTypeId">
    <vt:lpwstr>0x010100D5A1A8ED80F6F949B06F379FFB0FB2ED</vt:lpwstr>
  </property>
  <property fmtid="{D5CDD505-2E9C-101B-9397-08002B2CF9AE}" pid="5" name="_dlc_DocIdItemGuid">
    <vt:lpwstr>ecfefeab-2eaf-44f2-aa7e-6c5c721566eb</vt:lpwstr>
  </property>
</Properties>
</file>